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1109" r:id="rId2"/>
  </p:sldIdLst>
  <p:sldSz cx="12192000" cy="6858000"/>
  <p:notesSz cx="6858000" cy="9144000"/>
  <p:custDataLst>
    <p:tags r:id="rId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0" userDrawn="1">
          <p15:clr>
            <a:srgbClr val="A4A3A4"/>
          </p15:clr>
        </p15:guide>
        <p15:guide id="2" pos="504" userDrawn="1">
          <p15:clr>
            <a:srgbClr val="A4A3A4"/>
          </p15:clr>
        </p15:guide>
        <p15:guide id="3" pos="7416" userDrawn="1">
          <p15:clr>
            <a:srgbClr val="A4A3A4"/>
          </p15:clr>
        </p15:guide>
        <p15:guide id="4" orient="horz" pos="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70B5"/>
    <a:srgbClr val="BFBFBF"/>
    <a:srgbClr val="201F27"/>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6196" autoAdjust="0"/>
  </p:normalViewPr>
  <p:slideViewPr>
    <p:cSldViewPr snapToGrid="0" showGuides="1">
      <p:cViewPr varScale="1">
        <p:scale>
          <a:sx n="117" d="100"/>
          <a:sy n="117" d="100"/>
        </p:scale>
        <p:origin x="224" y="184"/>
      </p:cViewPr>
      <p:guideLst>
        <p:guide orient="horz" pos="3960"/>
        <p:guide pos="504"/>
        <p:guide pos="7416"/>
        <p:guide orient="horz" pos="648"/>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7E80B71-83FD-4129-90E7-21B591712D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8A688D2A-BDD6-4162-8E92-8A35DC9BF0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952177-5B6C-4BAD-944C-CFEC52895E05}" type="datetimeFigureOut">
              <a:rPr lang="es-ES" smtClean="0"/>
              <a:t>5/10/20</a:t>
            </a:fld>
            <a:endParaRPr lang="es-ES"/>
          </a:p>
        </p:txBody>
      </p:sp>
      <p:sp>
        <p:nvSpPr>
          <p:cNvPr id="4" name="Marcador de pie de página 3">
            <a:extLst>
              <a:ext uri="{FF2B5EF4-FFF2-40B4-BE49-F238E27FC236}">
                <a16:creationId xmlns:a16="http://schemas.microsoft.com/office/drawing/2014/main" id="{78E25ADB-CBE5-46A9-933F-31B413E056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0197B392-8955-4524-A813-E6D5159493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5F9DDE-185B-4210-98DE-77BF9A75DF49}" type="slidenum">
              <a:rPr lang="es-ES" smtClean="0"/>
              <a:t>‹#›</a:t>
            </a:fld>
            <a:endParaRPr lang="es-ES"/>
          </a:p>
        </p:txBody>
      </p:sp>
    </p:spTree>
    <p:extLst>
      <p:ext uri="{BB962C8B-B14F-4D97-AF65-F5344CB8AC3E}">
        <p14:creationId xmlns:p14="http://schemas.microsoft.com/office/powerpoint/2010/main" val="2602121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C1E6-5932-436B-9DAF-AC27ADFA0E22}" type="datetimeFigureOut">
              <a:rPr lang="es-ES" smtClean="0"/>
              <a:t>5/1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5E4F2-696C-4C9E-B6DB-A6666A4B9A67}" type="slidenum">
              <a:rPr lang="es-ES" smtClean="0"/>
              <a:t>‹#›</a:t>
            </a:fld>
            <a:endParaRPr lang="es-ES"/>
          </a:p>
        </p:txBody>
      </p:sp>
    </p:spTree>
    <p:extLst>
      <p:ext uri="{BB962C8B-B14F-4D97-AF65-F5344CB8AC3E}">
        <p14:creationId xmlns:p14="http://schemas.microsoft.com/office/powerpoint/2010/main" val="4281717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8.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Ref idx="1001">
        <a:schemeClr val="bg1"/>
      </p:bgRef>
    </p:bg>
    <p:spTree>
      <p:nvGrpSpPr>
        <p:cNvPr id="1" name=""/>
        <p:cNvGrpSpPr/>
        <p:nvPr/>
      </p:nvGrpSpPr>
      <p:grpSpPr>
        <a:xfrm>
          <a:off x="0" y="0"/>
          <a:ext cx="0" cy="0"/>
          <a:chOff x="0" y="0"/>
          <a:chExt cx="0" cy="0"/>
        </a:xfrm>
      </p:grpSpPr>
      <p:sp>
        <p:nvSpPr>
          <p:cNvPr id="12" name="Gráfico 3">
            <a:extLst>
              <a:ext uri="{FF2B5EF4-FFF2-40B4-BE49-F238E27FC236}">
                <a16:creationId xmlns:a16="http://schemas.microsoft.com/office/drawing/2014/main" id="{51AA479B-D64B-46A7-AC66-56AA75234E65}"/>
              </a:ext>
            </a:extLst>
          </p:cNvPr>
          <p:cNvSpPr/>
          <p:nvPr userDrawn="1"/>
        </p:nvSpPr>
        <p:spPr>
          <a:xfrm rot="16200000">
            <a:off x="-823362" y="-3782851"/>
            <a:ext cx="13478574" cy="20747249"/>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3175" cap="flat">
            <a:solidFill>
              <a:schemeClr val="bg2"/>
            </a:solidFill>
            <a:prstDash val="solid"/>
            <a:miter/>
          </a:ln>
        </p:spPr>
        <p:txBody>
          <a:bodyPr rtlCol="0" anchor="ctr"/>
          <a:lstStyle/>
          <a:p>
            <a:endParaRPr lang="es-ES"/>
          </a:p>
        </p:txBody>
      </p:sp>
      <p:sp>
        <p:nvSpPr>
          <p:cNvPr id="42" name="Título 1">
            <a:extLst>
              <a:ext uri="{FF2B5EF4-FFF2-40B4-BE49-F238E27FC236}">
                <a16:creationId xmlns:a16="http://schemas.microsoft.com/office/drawing/2014/main" id="{FE7DFE4D-0DAF-438A-9C98-D37546188A06}"/>
              </a:ext>
            </a:extLst>
          </p:cNvPr>
          <p:cNvSpPr>
            <a:spLocks noGrp="1"/>
          </p:cNvSpPr>
          <p:nvPr>
            <p:ph type="ctrTitle" hasCustomPrompt="1"/>
          </p:nvPr>
        </p:nvSpPr>
        <p:spPr>
          <a:xfrm>
            <a:off x="500062" y="250616"/>
            <a:ext cx="4338638" cy="2387600"/>
          </a:xfrm>
        </p:spPr>
        <p:txBody>
          <a:bodyPr anchor="b"/>
          <a:lstStyle>
            <a:lvl1pPr algn="l">
              <a:defRPr sz="6000" b="1">
                <a:solidFill>
                  <a:schemeClr val="tx1"/>
                </a:solidFill>
              </a:defRPr>
            </a:lvl1pPr>
          </a:lstStyle>
          <a:p>
            <a:r>
              <a:rPr lang="en-GB" noProof="0" dirty="0"/>
              <a:t>Title</a:t>
            </a:r>
          </a:p>
        </p:txBody>
      </p:sp>
      <p:sp>
        <p:nvSpPr>
          <p:cNvPr id="43" name="Subtítulo 2">
            <a:extLst>
              <a:ext uri="{FF2B5EF4-FFF2-40B4-BE49-F238E27FC236}">
                <a16:creationId xmlns:a16="http://schemas.microsoft.com/office/drawing/2014/main" id="{008F3E98-3E47-4911-AFFE-BEE2BB070617}"/>
              </a:ext>
            </a:extLst>
          </p:cNvPr>
          <p:cNvSpPr>
            <a:spLocks noGrp="1"/>
          </p:cNvSpPr>
          <p:nvPr>
            <p:ph type="subTitle" idx="1" hasCustomPrompt="1"/>
          </p:nvPr>
        </p:nvSpPr>
        <p:spPr>
          <a:xfrm>
            <a:off x="500062" y="2730291"/>
            <a:ext cx="4338638"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3" name="Gráfico 12">
            <a:extLst>
              <a:ext uri="{FF2B5EF4-FFF2-40B4-BE49-F238E27FC236}">
                <a16:creationId xmlns:a16="http://schemas.microsoft.com/office/drawing/2014/main" id="{AC73A706-269C-45F6-AE8E-D14E76860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4" name="Pentágono 3">
            <a:extLst>
              <a:ext uri="{FF2B5EF4-FFF2-40B4-BE49-F238E27FC236}">
                <a16:creationId xmlns:a16="http://schemas.microsoft.com/office/drawing/2014/main" id="{A399D291-CAD0-4548-A2A5-913CC51F04EF}"/>
              </a:ext>
            </a:extLst>
          </p:cNvPr>
          <p:cNvSpPr/>
          <p:nvPr userDrawn="1"/>
        </p:nvSpPr>
        <p:spPr>
          <a:xfrm rot="5400000">
            <a:off x="764761" y="-656159"/>
            <a:ext cx="4178292" cy="5230273"/>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8940251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7A791D-DD45-4C9F-A43F-EEDBF2798A54}"/>
              </a:ext>
            </a:extLst>
          </p:cNvPr>
          <p:cNvGraphicFramePr>
            <a:graphicFrameLocks noChangeAspect="1"/>
          </p:cNvGraphicFramePr>
          <p:nvPr userDrawn="1">
            <p:custDataLst>
              <p:tags r:id="rId2"/>
            </p:custDataLst>
            <p:extLst>
              <p:ext uri="{D42A27DB-BD31-4B8C-83A1-F6EECF244321}">
                <p14:modId xmlns:p14="http://schemas.microsoft.com/office/powerpoint/2010/main" val="123285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02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73DCD8-6F75-4E78-B7AE-BEA59769D7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dirty="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texto 3">
            <a:extLst>
              <a:ext uri="{FF2B5EF4-FFF2-40B4-BE49-F238E27FC236}">
                <a16:creationId xmlns:a16="http://schemas.microsoft.com/office/drawing/2014/main" id="{AC20D662-DAD3-44B9-9629-FA35D430B860}"/>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5" name="Conector recto 4">
            <a:extLst>
              <a:ext uri="{FF2B5EF4-FFF2-40B4-BE49-F238E27FC236}">
                <a16:creationId xmlns:a16="http://schemas.microsoft.com/office/drawing/2014/main" id="{C3B4707C-D65E-447E-B87B-7BB9D21672E7}"/>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40">
            <a:extLst>
              <a:ext uri="{FF2B5EF4-FFF2-40B4-BE49-F238E27FC236}">
                <a16:creationId xmlns:a16="http://schemas.microsoft.com/office/drawing/2014/main" id="{A370E13C-C67A-41AD-B07A-D0C9C7EBA033}"/>
              </a:ext>
            </a:extLst>
          </p:cNvPr>
          <p:cNvSpPr txBox="1">
            <a:spLocks/>
          </p:cNvSpPr>
          <p:nvPr userDrawn="1"/>
        </p:nvSpPr>
        <p:spPr>
          <a:xfrm>
            <a:off x="11210924" y="6492985"/>
            <a:ext cx="739775"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476E36-D14F-478C-80AD-5F152C8A886F}" type="slidenum">
              <a:rPr lang="es-ES" smtClean="0"/>
              <a:pPr/>
              <a:t>‹#›</a:t>
            </a:fld>
            <a:endParaRPr lang="es-ES" dirty="0"/>
          </a:p>
        </p:txBody>
      </p:sp>
    </p:spTree>
    <p:extLst>
      <p:ext uri="{BB962C8B-B14F-4D97-AF65-F5344CB8AC3E}">
        <p14:creationId xmlns:p14="http://schemas.microsoft.com/office/powerpoint/2010/main" val="341480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boxes tex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76299"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8" name="Marcador de contenido 2">
            <a:extLst>
              <a:ext uri="{FF2B5EF4-FFF2-40B4-BE49-F238E27FC236}">
                <a16:creationId xmlns:a16="http://schemas.microsoft.com/office/drawing/2014/main" id="{24757A0B-9E3E-4901-A538-F9214971EC48}"/>
              </a:ext>
            </a:extLst>
          </p:cNvPr>
          <p:cNvSpPr>
            <a:spLocks noGrp="1"/>
          </p:cNvSpPr>
          <p:nvPr>
            <p:ph idx="12" hasCustomPrompt="1"/>
          </p:nvPr>
        </p:nvSpPr>
        <p:spPr>
          <a:xfrm>
            <a:off x="6524623" y="1756229"/>
            <a:ext cx="5257801" cy="3950380"/>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cxnSp>
        <p:nvCxnSpPr>
          <p:cNvPr id="11" name="Conector recto 10">
            <a:extLst>
              <a:ext uri="{FF2B5EF4-FFF2-40B4-BE49-F238E27FC236}">
                <a16:creationId xmlns:a16="http://schemas.microsoft.com/office/drawing/2014/main" id="{B6F58068-89C8-4FD6-94F5-2C65218AF216}"/>
              </a:ext>
            </a:extLst>
          </p:cNvPr>
          <p:cNvCxnSpPr>
            <a:cxnSpLocks/>
          </p:cNvCxnSpPr>
          <p:nvPr userDrawn="1"/>
        </p:nvCxnSpPr>
        <p:spPr>
          <a:xfrm>
            <a:off x="832757"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0C2BEB5-9FD9-4308-B389-F3813B1D3ECE}"/>
              </a:ext>
            </a:extLst>
          </p:cNvPr>
          <p:cNvCxnSpPr>
            <a:cxnSpLocks/>
          </p:cNvCxnSpPr>
          <p:nvPr userDrawn="1"/>
        </p:nvCxnSpPr>
        <p:spPr>
          <a:xfrm>
            <a:off x="6481081" y="1574054"/>
            <a:ext cx="530134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Marcador de texto 3">
            <a:extLst>
              <a:ext uri="{FF2B5EF4-FFF2-40B4-BE49-F238E27FC236}">
                <a16:creationId xmlns:a16="http://schemas.microsoft.com/office/drawing/2014/main" id="{C045D449-C8BC-42C2-ABFB-2A3AA001F49E}"/>
              </a:ext>
            </a:extLst>
          </p:cNvPr>
          <p:cNvSpPr>
            <a:spLocks noGrp="1"/>
          </p:cNvSpPr>
          <p:nvPr>
            <p:ph type="body" sz="quarter" idx="13"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12" name="Conector recto 11">
            <a:extLst>
              <a:ext uri="{FF2B5EF4-FFF2-40B4-BE49-F238E27FC236}">
                <a16:creationId xmlns:a16="http://schemas.microsoft.com/office/drawing/2014/main" id="{C567F90E-3837-4C9B-9F2B-4F3C5C55F1F8}"/>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846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xt -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9"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9" y="1285875"/>
            <a:ext cx="10944225" cy="4891088"/>
          </a:xfrm>
        </p:spPr>
        <p:txBody>
          <a:bodyPr/>
          <a:lstStyle>
            <a:lvl1pPr marL="228600" indent="-228600">
              <a:lnSpc>
                <a:spcPct val="100000"/>
              </a:lnSpc>
              <a:spcBef>
                <a:spcPts val="600"/>
              </a:spcBef>
              <a:buClr>
                <a:schemeClr val="bg2"/>
              </a:buClr>
              <a:buFont typeface="PF Square Sans Pro" panose="02000506040000020004" pitchFamily="2" charset="0"/>
              <a:buChar char="-"/>
              <a:defRPr sz="1600"/>
            </a:lvl1pPr>
            <a:lvl2pPr marL="685800" indent="-228600">
              <a:lnSpc>
                <a:spcPct val="100000"/>
              </a:lnSpc>
              <a:spcBef>
                <a:spcPts val="600"/>
              </a:spcBef>
              <a:buClr>
                <a:schemeClr val="bg2"/>
              </a:buClr>
              <a:buFont typeface="Calibri" panose="020F0502020204030204" pitchFamily="34" charset="0"/>
              <a:buChar char="»"/>
              <a:defRPr sz="1600"/>
            </a:lvl2pPr>
            <a:lvl3pPr marL="1143000" indent="-228600">
              <a:lnSpc>
                <a:spcPct val="100000"/>
              </a:lnSpc>
              <a:spcBef>
                <a:spcPts val="600"/>
              </a:spcBef>
              <a:buClr>
                <a:schemeClr val="bg2"/>
              </a:buClr>
              <a:buFont typeface="Wingdings 3" panose="05040102010807070707" pitchFamily="18" charset="2"/>
              <a:buChar char="}"/>
              <a:defRPr sz="1600"/>
            </a:lvl3pPr>
            <a:lvl4pPr>
              <a:lnSpc>
                <a:spcPct val="100000"/>
              </a:lnSpc>
              <a:spcBef>
                <a:spcPts val="600"/>
              </a:spcBef>
              <a:buClr>
                <a:schemeClr val="bg2"/>
              </a:buClr>
              <a:defRPr sz="1600"/>
            </a:lvl4pPr>
            <a:lvl5pPr>
              <a:lnSpc>
                <a:spcPct val="100000"/>
              </a:lnSpc>
              <a:spcBef>
                <a:spcPts val="600"/>
              </a:spcBef>
              <a:buClr>
                <a:schemeClr val="bg2"/>
              </a:buClr>
              <a:defRPr sz="1600"/>
            </a:lvl5pPr>
          </a:lstStyle>
          <a:p>
            <a:pPr lvl="0"/>
            <a:r>
              <a:rPr lang="en-GB" noProof="0"/>
              <a:t>Text</a:t>
            </a:r>
          </a:p>
          <a:p>
            <a:pPr lvl="1"/>
            <a:r>
              <a:rPr lang="en-GB" noProof="0"/>
              <a:t>Text</a:t>
            </a:r>
          </a:p>
          <a:p>
            <a:pPr lvl="2"/>
            <a:r>
              <a:rPr lang="en-GB" noProof="0"/>
              <a:t>Text</a:t>
            </a:r>
          </a:p>
          <a:p>
            <a:pPr lvl="3"/>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33">
            <a:extLst>
              <a:ext uri="{FF2B5EF4-FFF2-40B4-BE49-F238E27FC236}">
                <a16:creationId xmlns:a16="http://schemas.microsoft.com/office/drawing/2014/main" id="{C8896D77-5979-4C2B-8820-98EDCEE153EC}"/>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40">
            <a:extLst>
              <a:ext uri="{FF2B5EF4-FFF2-40B4-BE49-F238E27FC236}">
                <a16:creationId xmlns:a16="http://schemas.microsoft.com/office/drawing/2014/main" id="{129DD8E1-8839-4D97-96B9-383605561A76}"/>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4" name="CuadroTexto 3">
            <a:extLst>
              <a:ext uri="{FF2B5EF4-FFF2-40B4-BE49-F238E27FC236}">
                <a16:creationId xmlns:a16="http://schemas.microsoft.com/office/drawing/2014/main" id="{88711296-954C-4330-98D3-79A4E2498F8B}"/>
              </a:ext>
            </a:extLst>
          </p:cNvPr>
          <p:cNvSpPr txBox="1"/>
          <p:nvPr userDrawn="1"/>
        </p:nvSpPr>
        <p:spPr>
          <a:xfrm>
            <a:off x="838199" y="192113"/>
            <a:ext cx="6284259" cy="152349"/>
          </a:xfrm>
          <a:prstGeom prst="rect">
            <a:avLst/>
          </a:prstGeom>
        </p:spPr>
        <p:txBody>
          <a:bodyPr vert="horz" wrap="square" lIns="0" tIns="0" rIns="0" bIns="0" rtlCol="0" anchor="ctr">
            <a:spAutoFit/>
          </a:bodyPr>
          <a:lstStyle>
            <a:lvl1pPr lvl="0" indent="0">
              <a:lnSpc>
                <a:spcPct val="90000"/>
              </a:lnSpc>
              <a:spcBef>
                <a:spcPts val="1000"/>
              </a:spcBef>
              <a:buFont typeface="Arial" panose="020B0604020202020204" pitchFamily="34" charset="0"/>
              <a:buNone/>
              <a:defRPr sz="1100">
                <a:latin typeface="SF Pro Display Semibold" panose="00000700000000000000" pitchFamily="2" charset="0"/>
                <a:ea typeface="SF Pro Display Semibold" panose="00000700000000000000" pitchFamily="2" charset="0"/>
              </a:defRPr>
            </a:lvl1pPr>
            <a:lvl2pPr marL="444500" indent="0">
              <a:lnSpc>
                <a:spcPct val="90000"/>
              </a:lnSpc>
              <a:spcBef>
                <a:spcPts val="500"/>
              </a:spcBef>
              <a:buFont typeface="Arial" panose="020B0604020202020204" pitchFamily="34" charset="0"/>
              <a:buNone/>
              <a:defRPr sz="2400">
                <a:latin typeface="SF Pro Display Semibold" panose="00000700000000000000" pitchFamily="2" charset="0"/>
                <a:ea typeface="SF Pro Display Semibold" panose="00000700000000000000" pitchFamily="2" charset="0"/>
              </a:defRPr>
            </a:lvl2pPr>
            <a:lvl3pPr marL="889000" indent="0">
              <a:lnSpc>
                <a:spcPct val="90000"/>
              </a:lnSpc>
              <a:spcBef>
                <a:spcPts val="500"/>
              </a:spcBef>
              <a:buFont typeface="Arial" panose="020B0604020202020204" pitchFamily="34" charset="0"/>
              <a:buNone/>
              <a:defRPr sz="2000">
                <a:latin typeface="SF Pro Display Semibold" panose="00000700000000000000" pitchFamily="2" charset="0"/>
                <a:ea typeface="SF Pro Display Semibold" panose="00000700000000000000" pitchFamily="2" charset="0"/>
              </a:defRPr>
            </a:lvl3pPr>
            <a:lvl4pPr marL="13335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4pPr>
            <a:lvl5pPr marL="1778000" indent="0">
              <a:lnSpc>
                <a:spcPct val="90000"/>
              </a:lnSpc>
              <a:spcBef>
                <a:spcPts val="500"/>
              </a:spcBef>
              <a:buFont typeface="Arial" panose="020B0604020202020204" pitchFamily="34" charset="0"/>
              <a:buNone/>
              <a:defRPr>
                <a:latin typeface="SF Pro Display Semibold" panose="00000700000000000000" pitchFamily="2" charset="0"/>
                <a:ea typeface="SF Pro Display Semibold" panose="00000700000000000000" pitchFamily="2"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noProof="0" dirty="0"/>
              <a:t>Africa Foresight Group – ERP Audit for </a:t>
            </a:r>
            <a:r>
              <a:rPr lang="en-GB" noProof="0" dirty="0" err="1"/>
              <a:t>SIIFAX</a:t>
            </a:r>
            <a:r>
              <a:rPr lang="en-GB" noProof="0" dirty="0"/>
              <a:t> Group</a:t>
            </a:r>
            <a:endParaRPr lang="es-ES" dirty="0" err="1"/>
          </a:p>
        </p:txBody>
      </p:sp>
      <p:sp>
        <p:nvSpPr>
          <p:cNvPr id="8" name="Marcador de texto 3">
            <a:extLst>
              <a:ext uri="{FF2B5EF4-FFF2-40B4-BE49-F238E27FC236}">
                <a16:creationId xmlns:a16="http://schemas.microsoft.com/office/drawing/2014/main" id="{013FC5A4-76D3-49C0-A59C-A1352AE5AF0D}"/>
              </a:ext>
            </a:extLst>
          </p:cNvPr>
          <p:cNvSpPr>
            <a:spLocks noGrp="1"/>
          </p:cNvSpPr>
          <p:nvPr>
            <p:ph type="body" sz="quarter" idx="12"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9" name="Conector recto 8">
            <a:extLst>
              <a:ext uri="{FF2B5EF4-FFF2-40B4-BE49-F238E27FC236}">
                <a16:creationId xmlns:a16="http://schemas.microsoft.com/office/drawing/2014/main" id="{50F02B2A-6C63-406C-A2C3-E0528B469C89}"/>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40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838198" y="365125"/>
            <a:ext cx="10944225" cy="678815"/>
          </a:xfrm>
        </p:spPr>
        <p:txBody>
          <a:bodyPr/>
          <a:lstStyle>
            <a:lvl1pPr>
              <a:defRPr sz="3200" b="1"/>
            </a:lvl1pPr>
          </a:lstStyle>
          <a:p>
            <a:r>
              <a:rPr lang="en-GB" noProof="0"/>
              <a:t>Slide title</a:t>
            </a:r>
          </a:p>
        </p:txBody>
      </p:sp>
      <p:sp>
        <p:nvSpPr>
          <p:cNvPr id="3" name="Marcador de contenido 2">
            <a:extLst>
              <a:ext uri="{FF2B5EF4-FFF2-40B4-BE49-F238E27FC236}">
                <a16:creationId xmlns:a16="http://schemas.microsoft.com/office/drawing/2014/main" id="{94040758-0407-4FDA-BC42-411C0B479C62}"/>
              </a:ext>
            </a:extLst>
          </p:cNvPr>
          <p:cNvSpPr>
            <a:spLocks noGrp="1"/>
          </p:cNvSpPr>
          <p:nvPr>
            <p:ph idx="1" hasCustomPrompt="1"/>
          </p:nvPr>
        </p:nvSpPr>
        <p:spPr>
          <a:xfrm>
            <a:off x="83819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0"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9" name="Marcador de contenido 2">
            <a:extLst>
              <a:ext uri="{FF2B5EF4-FFF2-40B4-BE49-F238E27FC236}">
                <a16:creationId xmlns:a16="http://schemas.microsoft.com/office/drawing/2014/main" id="{8A030EAF-A3E0-4D25-98E1-3D4F6F92D1BC}"/>
              </a:ext>
            </a:extLst>
          </p:cNvPr>
          <p:cNvSpPr>
            <a:spLocks noGrp="1"/>
          </p:cNvSpPr>
          <p:nvPr>
            <p:ph idx="12" hasCustomPrompt="1"/>
          </p:nvPr>
        </p:nvSpPr>
        <p:spPr>
          <a:xfrm>
            <a:off x="4801408"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sp>
        <p:nvSpPr>
          <p:cNvPr id="10" name="Marcador de contenido 2">
            <a:extLst>
              <a:ext uri="{FF2B5EF4-FFF2-40B4-BE49-F238E27FC236}">
                <a16:creationId xmlns:a16="http://schemas.microsoft.com/office/drawing/2014/main" id="{B036AFD4-9EEE-49E8-8534-D2C514CB4482}"/>
              </a:ext>
            </a:extLst>
          </p:cNvPr>
          <p:cNvSpPr>
            <a:spLocks noGrp="1"/>
          </p:cNvSpPr>
          <p:nvPr>
            <p:ph idx="13" hasCustomPrompt="1"/>
          </p:nvPr>
        </p:nvSpPr>
        <p:spPr>
          <a:xfrm>
            <a:off x="8764613" y="1989549"/>
            <a:ext cx="3017808" cy="1862767"/>
          </a:xfrm>
        </p:spPr>
        <p:txBody>
          <a:bodyPr anchor="t"/>
          <a:lstStyle>
            <a:lvl1pPr marL="0" indent="0">
              <a:lnSpc>
                <a:spcPct val="100000"/>
              </a:lnSpc>
              <a:spcBef>
                <a:spcPts val="600"/>
              </a:spcBef>
              <a:buClr>
                <a:schemeClr val="bg2"/>
              </a:buClr>
              <a:buFont typeface="PF Square Sans Pro" panose="02000506040000020004" pitchFamily="2" charset="0"/>
              <a:buNone/>
              <a:defRPr sz="1600"/>
            </a:lvl1pPr>
            <a:lvl2pPr marL="457200" indent="0">
              <a:lnSpc>
                <a:spcPct val="100000"/>
              </a:lnSpc>
              <a:spcBef>
                <a:spcPts val="600"/>
              </a:spcBef>
              <a:buClr>
                <a:schemeClr val="bg2"/>
              </a:buClr>
              <a:buFont typeface="Calibri" panose="020F0502020204030204" pitchFamily="34" charset="0"/>
              <a:buNone/>
              <a:defRPr sz="1600"/>
            </a:lvl2pPr>
            <a:lvl3pPr marL="914400" indent="0">
              <a:lnSpc>
                <a:spcPct val="100000"/>
              </a:lnSpc>
              <a:spcBef>
                <a:spcPts val="600"/>
              </a:spcBef>
              <a:buClr>
                <a:schemeClr val="bg2"/>
              </a:buClr>
              <a:buFont typeface="Wingdings 3" panose="05040102010807070707" pitchFamily="18" charset="2"/>
              <a:buNone/>
              <a:defRPr sz="1600"/>
            </a:lvl3pPr>
            <a:lvl4pPr marL="1371600" indent="0">
              <a:lnSpc>
                <a:spcPct val="100000"/>
              </a:lnSpc>
              <a:spcBef>
                <a:spcPts val="600"/>
              </a:spcBef>
              <a:buClr>
                <a:schemeClr val="bg2"/>
              </a:buClr>
              <a:buNone/>
              <a:defRPr sz="1600"/>
            </a:lvl4pPr>
            <a:lvl5pPr>
              <a:lnSpc>
                <a:spcPct val="100000"/>
              </a:lnSpc>
              <a:spcBef>
                <a:spcPts val="600"/>
              </a:spcBef>
              <a:buClr>
                <a:schemeClr val="bg2"/>
              </a:buClr>
              <a:defRPr sz="1600"/>
            </a:lvl5pPr>
          </a:lstStyle>
          <a:p>
            <a:pPr lvl="0"/>
            <a:r>
              <a:rPr lang="en-GB" noProof="0"/>
              <a:t>Text</a:t>
            </a:r>
          </a:p>
        </p:txBody>
      </p:sp>
      <p:cxnSp>
        <p:nvCxnSpPr>
          <p:cNvPr id="5" name="Conector recto 4">
            <a:extLst>
              <a:ext uri="{FF2B5EF4-FFF2-40B4-BE49-F238E27FC236}">
                <a16:creationId xmlns:a16="http://schemas.microsoft.com/office/drawing/2014/main" id="{188D8799-5A55-4794-B139-29EA5FB50D3E}"/>
              </a:ext>
            </a:extLst>
          </p:cNvPr>
          <p:cNvCxnSpPr>
            <a:cxnSpLocks/>
          </p:cNvCxnSpPr>
          <p:nvPr userDrawn="1"/>
        </p:nvCxnSpPr>
        <p:spPr>
          <a:xfrm>
            <a:off x="83819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37A74497-8180-40FD-8738-B249B4B39B1A}"/>
              </a:ext>
            </a:extLst>
          </p:cNvPr>
          <p:cNvCxnSpPr>
            <a:cxnSpLocks/>
          </p:cNvCxnSpPr>
          <p:nvPr userDrawn="1"/>
        </p:nvCxnSpPr>
        <p:spPr>
          <a:xfrm>
            <a:off x="4801408"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F88D473-EB95-498A-918E-626400D9FE76}"/>
              </a:ext>
            </a:extLst>
          </p:cNvPr>
          <p:cNvCxnSpPr>
            <a:cxnSpLocks/>
          </p:cNvCxnSpPr>
          <p:nvPr userDrawn="1"/>
        </p:nvCxnSpPr>
        <p:spPr>
          <a:xfrm>
            <a:off x="8764613" y="4288225"/>
            <a:ext cx="306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Forma libre: forma 15">
            <a:extLst>
              <a:ext uri="{FF2B5EF4-FFF2-40B4-BE49-F238E27FC236}">
                <a16:creationId xmlns:a16="http://schemas.microsoft.com/office/drawing/2014/main" id="{33E11ED8-A3DB-4CC1-988C-5659486EB324}"/>
              </a:ext>
            </a:extLst>
          </p:cNvPr>
          <p:cNvSpPr/>
          <p:nvPr userDrawn="1"/>
        </p:nvSpPr>
        <p:spPr>
          <a:xfrm>
            <a:off x="30607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Forma libre: forma 16">
            <a:extLst>
              <a:ext uri="{FF2B5EF4-FFF2-40B4-BE49-F238E27FC236}">
                <a16:creationId xmlns:a16="http://schemas.microsoft.com/office/drawing/2014/main" id="{927FAF4F-3B73-465B-B9DA-C939967FDEB6}"/>
              </a:ext>
            </a:extLst>
          </p:cNvPr>
          <p:cNvSpPr/>
          <p:nvPr userDrawn="1"/>
        </p:nvSpPr>
        <p:spPr>
          <a:xfrm>
            <a:off x="6972361" y="4040575"/>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Forma libre: forma 17">
            <a:extLst>
              <a:ext uri="{FF2B5EF4-FFF2-40B4-BE49-F238E27FC236}">
                <a16:creationId xmlns:a16="http://schemas.microsoft.com/office/drawing/2014/main" id="{D06242BA-2C25-4723-92B6-238899743D90}"/>
              </a:ext>
            </a:extLst>
          </p:cNvPr>
          <p:cNvSpPr/>
          <p:nvPr userDrawn="1"/>
        </p:nvSpPr>
        <p:spPr>
          <a:xfrm>
            <a:off x="10935571" y="4032292"/>
            <a:ext cx="733253" cy="436684"/>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Marcador de texto 3">
            <a:extLst>
              <a:ext uri="{FF2B5EF4-FFF2-40B4-BE49-F238E27FC236}">
                <a16:creationId xmlns:a16="http://schemas.microsoft.com/office/drawing/2014/main" id="{6E29E701-86CB-4A6F-9A01-55A61D250A1E}"/>
              </a:ext>
            </a:extLst>
          </p:cNvPr>
          <p:cNvSpPr>
            <a:spLocks noGrp="1"/>
          </p:cNvSpPr>
          <p:nvPr>
            <p:ph type="body" sz="quarter" idx="14" hasCustomPrompt="1"/>
          </p:nvPr>
        </p:nvSpPr>
        <p:spPr>
          <a:xfrm>
            <a:off x="838199" y="6394690"/>
            <a:ext cx="9886951" cy="365125"/>
          </a:xfrm>
        </p:spPr>
        <p:txBody>
          <a:bodyPr anchor="b"/>
          <a:lstStyle>
            <a:lvl1pPr marL="0" indent="0">
              <a:buNone/>
              <a:defRPr sz="800">
                <a:solidFill>
                  <a:schemeClr val="bg2">
                    <a:lumMod val="50000"/>
                  </a:schemeClr>
                </a:solidFill>
              </a:defRPr>
            </a:lvl1pPr>
            <a:lvl2pPr marL="457200" indent="0">
              <a:buNone/>
              <a:defRPr sz="800">
                <a:solidFill>
                  <a:schemeClr val="bg2">
                    <a:lumMod val="50000"/>
                  </a:schemeClr>
                </a:solidFill>
              </a:defRPr>
            </a:lvl2pPr>
            <a:lvl3pPr marL="914400" indent="0">
              <a:buNone/>
              <a:defRPr sz="800">
                <a:solidFill>
                  <a:schemeClr val="bg2">
                    <a:lumMod val="50000"/>
                  </a:schemeClr>
                </a:solidFill>
              </a:defRPr>
            </a:lvl3pPr>
            <a:lvl4pPr marL="1371600" indent="0">
              <a:buNone/>
              <a:defRPr sz="800">
                <a:solidFill>
                  <a:schemeClr val="bg2">
                    <a:lumMod val="50000"/>
                  </a:schemeClr>
                </a:solidFill>
              </a:defRPr>
            </a:lvl4pPr>
            <a:lvl5pPr marL="1828800" indent="0">
              <a:buNone/>
              <a:defRPr sz="800">
                <a:solidFill>
                  <a:schemeClr val="bg2">
                    <a:lumMod val="50000"/>
                  </a:schemeClr>
                </a:solidFill>
              </a:defRPr>
            </a:lvl5pPr>
          </a:lstStyle>
          <a:p>
            <a:pPr lvl="0"/>
            <a:r>
              <a:rPr lang="es-ES" dirty="0" err="1"/>
              <a:t>source</a:t>
            </a:r>
            <a:endParaRPr lang="es-ES" dirty="0"/>
          </a:p>
        </p:txBody>
      </p:sp>
      <p:cxnSp>
        <p:nvCxnSpPr>
          <p:cNvPr id="20" name="Conector recto 19">
            <a:extLst>
              <a:ext uri="{FF2B5EF4-FFF2-40B4-BE49-F238E27FC236}">
                <a16:creationId xmlns:a16="http://schemas.microsoft.com/office/drawing/2014/main" id="{B30C13F0-4731-471C-903B-AFD59A84748A}"/>
              </a:ext>
            </a:extLst>
          </p:cNvPr>
          <p:cNvCxnSpPr/>
          <p:nvPr userDrawn="1"/>
        </p:nvCxnSpPr>
        <p:spPr>
          <a:xfrm>
            <a:off x="838199" y="1043940"/>
            <a:ext cx="11353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828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165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376834"/>
          </a:xfrm>
        </p:spPr>
        <p:txBody>
          <a:bodyPr/>
          <a:lstStyle/>
          <a:p>
            <a:r>
              <a:rPr lang="en-US"/>
              <a:t>Click to edit Master title style</a:t>
            </a:r>
          </a:p>
        </p:txBody>
      </p:sp>
      <p:sp>
        <p:nvSpPr>
          <p:cNvPr id="3" name="Subtitle 2"/>
          <p:cNvSpPr>
            <a:spLocks noGrp="1"/>
          </p:cNvSpPr>
          <p:nvPr>
            <p:ph type="subTitle" idx="1"/>
          </p:nvPr>
        </p:nvSpPr>
        <p:spPr>
          <a:xfrm>
            <a:off x="1828801" y="3886201"/>
            <a:ext cx="8534401" cy="314028"/>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55598A-3BAC-4446-A6F4-A5830ABD4FE3}" type="datetimeFigureOut">
              <a:rPr lang="en-US" smtClean="0"/>
              <a:t>10/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39757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55598A-3BAC-4446-A6F4-A5830ABD4FE3}" type="datetimeFigureOut">
              <a:rPr lang="en-US" smtClean="0"/>
              <a:t>10/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1523191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Ma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16" y="1116"/>
          <a:ext cx="1117" cy="1117"/>
        </p:xfrm>
        <a:graphic>
          <a:graphicData uri="http://schemas.openxmlformats.org/presentationml/2006/ole">
            <mc:AlternateContent xmlns:mc="http://schemas.openxmlformats.org/markup-compatibility/2006">
              <mc:Choice xmlns:v="urn:schemas-microsoft-com:vml" Requires="v">
                <p:oleObj spid="_x0000_s253994"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116" y="1116"/>
                        <a:ext cx="1117" cy="111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1618" cy="1116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410751" rtl="0" eaLnBrk="1" fontAlgn="auto" latinLnBrk="0" hangingPunct="0">
              <a:lnSpc>
                <a:spcPct val="100000"/>
              </a:lnSpc>
              <a:spcBef>
                <a:spcPts val="0"/>
              </a:spcBef>
              <a:spcAft>
                <a:spcPts val="0"/>
              </a:spcAft>
              <a:buClrTx/>
              <a:buSzTx/>
              <a:buFontTx/>
              <a:buNone/>
              <a:tabLst/>
            </a:pPr>
            <a:endParaRPr kumimoji="0" lang="en-US" sz="4000" b="1" i="0" u="none" strike="noStrike" cap="none" spc="0" normalizeH="0" baseline="0" dirty="0">
              <a:ln>
                <a:noFill/>
              </a:ln>
              <a:solidFill>
                <a:srgbClr val="FFFFFF"/>
              </a:solidFill>
              <a:effectLst/>
              <a:uFillTx/>
              <a:latin typeface="Calibri" panose="020F0502020204030204" pitchFamily="34" charset="0"/>
              <a:ea typeface="+mj-ea"/>
              <a:cs typeface="+mj-cs"/>
              <a:sym typeface="Calibri" panose="020F0502020204030204" pitchFamily="34" charset="0"/>
            </a:endParaRPr>
          </a:p>
        </p:txBody>
      </p:sp>
      <p:sp>
        <p:nvSpPr>
          <p:cNvPr id="14" name="Oval 13">
            <a:extLst>
              <a:ext uri="{FF2B5EF4-FFF2-40B4-BE49-F238E27FC236}">
                <a16:creationId xmlns:a16="http://schemas.microsoft.com/office/drawing/2014/main" id="{DF5FB58B-F623-4130-80F0-47193C41BBF2}"/>
              </a:ext>
            </a:extLst>
          </p:cNvPr>
          <p:cNvSpPr/>
          <p:nvPr userDrawn="1"/>
        </p:nvSpPr>
        <p:spPr>
          <a:xfrm>
            <a:off x="5052499" y="1250374"/>
            <a:ext cx="2715768" cy="27157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 name="Rectangle 14">
            <a:extLst>
              <a:ext uri="{FF2B5EF4-FFF2-40B4-BE49-F238E27FC236}">
                <a16:creationId xmlns:a16="http://schemas.microsoft.com/office/drawing/2014/main" id="{56B90A75-6482-4B17-B2FD-F7009F657B6C}"/>
              </a:ext>
            </a:extLst>
          </p:cNvPr>
          <p:cNvSpPr/>
          <p:nvPr userDrawn="1"/>
        </p:nvSpPr>
        <p:spPr>
          <a:xfrm>
            <a:off x="5052255" y="2612595"/>
            <a:ext cx="2716012" cy="4185020"/>
          </a:xfrm>
          <a:prstGeom prst="rect">
            <a:avLst/>
          </a:prstGeom>
          <a:solidFill>
            <a:srgbClr val="DB222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noAutofit/>
          </a:bodyPr>
          <a:lstStyle/>
          <a:p>
            <a:pPr algn="ctr" defTabSz="410751" hangingPunct="0">
              <a:defRPr/>
            </a:pPr>
            <a:endParaRPr lang="en-GH" sz="1195" kern="0" dirty="0">
              <a:solidFill>
                <a:srgbClr val="FFFFFF"/>
              </a:solidFill>
              <a:sym typeface="Helvetica Neue Medium"/>
            </a:endParaRPr>
          </a:p>
        </p:txBody>
      </p:sp>
      <p:sp>
        <p:nvSpPr>
          <p:cNvPr id="6" name="Picture Placeholder 5">
            <a:extLst>
              <a:ext uri="{FF2B5EF4-FFF2-40B4-BE49-F238E27FC236}">
                <a16:creationId xmlns:a16="http://schemas.microsoft.com/office/drawing/2014/main" id="{9C44C5B0-5C5C-4F92-AE43-007BF1A14373}"/>
              </a:ext>
            </a:extLst>
          </p:cNvPr>
          <p:cNvSpPr>
            <a:spLocks noGrp="1"/>
          </p:cNvSpPr>
          <p:nvPr>
            <p:ph type="pic" sz="quarter" idx="10"/>
          </p:nvPr>
        </p:nvSpPr>
        <p:spPr>
          <a:xfrm>
            <a:off x="5118404" y="1316279"/>
            <a:ext cx="2583959" cy="2583959"/>
          </a:xfrm>
          <a:prstGeom prst="ellipse">
            <a:avLst/>
          </a:prstGeom>
          <a:ln>
            <a:noFill/>
          </a:ln>
        </p:spPr>
        <p:txBody>
          <a:bodyPr>
            <a:noAutofit/>
          </a:bodyPr>
          <a:lstStyle/>
          <a:p>
            <a:endParaRPr lang="en-US"/>
          </a:p>
        </p:txBody>
      </p:sp>
      <p:sp>
        <p:nvSpPr>
          <p:cNvPr id="22" name="Rectangle"/>
          <p:cNvSpPr/>
          <p:nvPr/>
        </p:nvSpPr>
        <p:spPr>
          <a:xfrm>
            <a:off x="-7721" y="6783984"/>
            <a:ext cx="12207441" cy="72465"/>
          </a:xfrm>
          <a:prstGeom prst="rect">
            <a:avLst/>
          </a:prstGeom>
          <a:solidFill>
            <a:srgbClr val="CA3834"/>
          </a:solidFill>
          <a:ln w="12700">
            <a:miter lim="400000"/>
          </a:ln>
        </p:spPr>
        <p:txBody>
          <a:bodyPr lIns="35718" tIns="35718" rIns="35718" bIns="35718" anchor="ctr"/>
          <a:lstStyle/>
          <a:p>
            <a:pPr>
              <a:defRPr sz="2200" b="0">
                <a:solidFill>
                  <a:srgbClr val="CA3834"/>
                </a:solidFill>
                <a:latin typeface="+mn-lt"/>
                <a:ea typeface="+mn-ea"/>
                <a:cs typeface="+mn-cs"/>
                <a:sym typeface="Helvetica Neue Medium"/>
              </a:defRPr>
            </a:pPr>
            <a:endParaRPr sz="1547"/>
          </a:p>
        </p:txBody>
      </p:sp>
      <p:sp>
        <p:nvSpPr>
          <p:cNvPr id="2" name="Title 1">
            <a:extLst>
              <a:ext uri="{FF2B5EF4-FFF2-40B4-BE49-F238E27FC236}">
                <a16:creationId xmlns:a16="http://schemas.microsoft.com/office/drawing/2014/main" id="{958420E6-0822-4E2D-B129-F19789E7A295}"/>
              </a:ext>
            </a:extLst>
          </p:cNvPr>
          <p:cNvSpPr>
            <a:spLocks noGrp="1"/>
          </p:cNvSpPr>
          <p:nvPr userDrawn="1">
            <p:ph type="title"/>
          </p:nvPr>
        </p:nvSpPr>
        <p:spPr>
          <a:xfrm>
            <a:off x="652965" y="227619"/>
            <a:ext cx="10492062" cy="553998"/>
          </a:xfrm>
        </p:spPr>
        <p:txBody>
          <a:bodyPr wrap="square" lIns="0" tIns="0" rIns="0" bIns="0" anchor="t" anchorCtr="0">
            <a:spAutoFit/>
          </a:bodyPr>
          <a:lstStyle>
            <a:lvl1pPr>
              <a:defRPr lang="en-US" sz="4000" dirty="0"/>
            </a:lvl1pPr>
          </a:lstStyle>
          <a:p>
            <a:pPr lvl="0" fontAlgn="auto" hangingPunct="1"/>
            <a:r>
              <a:rPr lang="en-US" dirty="0"/>
              <a:t>Click to edit Master title style</a:t>
            </a:r>
          </a:p>
        </p:txBody>
      </p:sp>
      <p:grpSp>
        <p:nvGrpSpPr>
          <p:cNvPr id="11" name="Group 10">
            <a:extLst>
              <a:ext uri="{FF2B5EF4-FFF2-40B4-BE49-F238E27FC236}">
                <a16:creationId xmlns:a16="http://schemas.microsoft.com/office/drawing/2014/main" id="{A8FA1644-99CD-459B-B844-A6F1FE3942BA}"/>
              </a:ext>
            </a:extLst>
          </p:cNvPr>
          <p:cNvGrpSpPr/>
          <p:nvPr userDrawn="1"/>
        </p:nvGrpSpPr>
        <p:grpSpPr>
          <a:xfrm>
            <a:off x="10245649" y="3292153"/>
            <a:ext cx="2882222" cy="4400056"/>
            <a:chOff x="10877168" y="5342218"/>
            <a:chExt cx="3513981" cy="5364348"/>
          </a:xfrm>
        </p:grpSpPr>
        <p:pic>
          <p:nvPicPr>
            <p:cNvPr id="12" name="Image" descr="Image">
              <a:extLst>
                <a:ext uri="{FF2B5EF4-FFF2-40B4-BE49-F238E27FC236}">
                  <a16:creationId xmlns:a16="http://schemas.microsoft.com/office/drawing/2014/main" id="{815E75A5-DC17-431B-AEBD-2AFEA0B6B19E}"/>
                </a:ext>
              </a:extLst>
            </p:cNvPr>
            <p:cNvPicPr>
              <a:picLocks noChangeAspect="1"/>
            </p:cNvPicPr>
            <p:nvPr/>
          </p:nvPicPr>
          <p:blipFill>
            <a:blip r:embed="rId7">
              <a:alphaModFix amt="2513"/>
            </a:blip>
            <a:srcRect/>
            <a:stretch>
              <a:fillRect/>
            </a:stretch>
          </p:blipFill>
          <p:spPr>
            <a:xfrm rot="18900000">
              <a:off x="10877168" y="7354873"/>
              <a:ext cx="2215438" cy="3351693"/>
            </a:xfrm>
            <a:prstGeom prst="rect">
              <a:avLst/>
            </a:prstGeom>
            <a:ln w="12700">
              <a:miter lim="400000"/>
            </a:ln>
          </p:spPr>
        </p:pic>
        <p:pic>
          <p:nvPicPr>
            <p:cNvPr id="13" name="Image" descr="Image">
              <a:extLst>
                <a:ext uri="{FF2B5EF4-FFF2-40B4-BE49-F238E27FC236}">
                  <a16:creationId xmlns:a16="http://schemas.microsoft.com/office/drawing/2014/main" id="{B1F7D425-DE41-4C1C-BD22-46442DCA888E}"/>
                </a:ext>
              </a:extLst>
            </p:cNvPr>
            <p:cNvPicPr>
              <a:picLocks noChangeAspect="1"/>
            </p:cNvPicPr>
            <p:nvPr/>
          </p:nvPicPr>
          <p:blipFill>
            <a:blip r:embed="rId7">
              <a:alphaModFix amt="2513"/>
            </a:blip>
            <a:stretch>
              <a:fillRect/>
            </a:stretch>
          </p:blipFill>
          <p:spPr>
            <a:xfrm rot="18900000">
              <a:off x="12175711" y="5342218"/>
              <a:ext cx="2215438" cy="3351693"/>
            </a:xfrm>
            <a:prstGeom prst="rect">
              <a:avLst/>
            </a:prstGeom>
            <a:ln w="12700">
              <a:miter lim="400000"/>
            </a:ln>
          </p:spPr>
        </p:pic>
      </p:grpSp>
      <p:sp>
        <p:nvSpPr>
          <p:cNvPr id="16" name="Slide Number">
            <a:extLst>
              <a:ext uri="{FF2B5EF4-FFF2-40B4-BE49-F238E27FC236}">
                <a16:creationId xmlns:a16="http://schemas.microsoft.com/office/drawing/2014/main" id="{4ED2E06C-B215-4C96-B74D-7E360FA0DA69}"/>
              </a:ext>
            </a:extLst>
          </p:cNvPr>
          <p:cNvSpPr txBox="1">
            <a:spLocks noGrp="1"/>
          </p:cNvSpPr>
          <p:nvPr>
            <p:ph type="sldNum" sz="quarter" idx="2"/>
          </p:nvPr>
        </p:nvSpPr>
        <p:spPr>
          <a:xfrm>
            <a:off x="11255791" y="366760"/>
            <a:ext cx="282130" cy="275717"/>
          </a:xfrm>
          <a:prstGeom prst="rect">
            <a:avLst/>
          </a:prstGeom>
          <a:ln w="12700">
            <a:miter lim="400000"/>
          </a:ln>
        </p:spPr>
        <p:txBody>
          <a:bodyPr wrap="none" lIns="50800" tIns="50800" rIns="50800" bIns="50800">
            <a:spAutoFit/>
          </a:bodyPr>
          <a:lstStyle>
            <a:lvl1pPr>
              <a:defRPr sz="1125"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343468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 small pattern">
    <p:bg>
      <p:bgRef idx="1001">
        <a:schemeClr val="bg1"/>
      </p:bgRef>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90CB68A-763B-496D-8A3F-B21334F91698}"/>
              </a:ext>
            </a:extLst>
          </p:cNvPr>
          <p:cNvGrpSpPr/>
          <p:nvPr userDrawn="1"/>
        </p:nvGrpSpPr>
        <p:grpSpPr>
          <a:xfrm>
            <a:off x="0" y="4851400"/>
            <a:ext cx="12192000" cy="2006600"/>
            <a:chOff x="0" y="4963396"/>
            <a:chExt cx="13401674" cy="1894604"/>
          </a:xfrm>
        </p:grpSpPr>
        <p:grpSp>
          <p:nvGrpSpPr>
            <p:cNvPr id="41" name="Grupo 40">
              <a:extLst>
                <a:ext uri="{FF2B5EF4-FFF2-40B4-BE49-F238E27FC236}">
                  <a16:creationId xmlns:a16="http://schemas.microsoft.com/office/drawing/2014/main" id="{B4752F91-3BAD-49F6-AA1C-1CAB138AC454}"/>
                </a:ext>
              </a:extLst>
            </p:cNvPr>
            <p:cNvGrpSpPr/>
            <p:nvPr userDrawn="1"/>
          </p:nvGrpSpPr>
          <p:grpSpPr>
            <a:xfrm>
              <a:off x="0" y="4963396"/>
              <a:ext cx="6705600" cy="1894604"/>
              <a:chOff x="0" y="3413266"/>
              <a:chExt cx="12192000" cy="3444734"/>
            </a:xfrm>
          </p:grpSpPr>
          <p:sp>
            <p:nvSpPr>
              <p:cNvPr id="27" name="Triángulo rectángulo 26">
                <a:extLst>
                  <a:ext uri="{FF2B5EF4-FFF2-40B4-BE49-F238E27FC236}">
                    <a16:creationId xmlns:a16="http://schemas.microsoft.com/office/drawing/2014/main" id="{76AA6F04-055A-41B8-BFF1-699138499884}"/>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10">
                <a:extLst>
                  <a:ext uri="{FF2B5EF4-FFF2-40B4-BE49-F238E27FC236}">
                    <a16:creationId xmlns:a16="http://schemas.microsoft.com/office/drawing/2014/main" id="{4451C052-5B90-4E5B-8069-2DFD27F78E14}"/>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Triángulo rectángulo 11">
                <a:extLst>
                  <a:ext uri="{FF2B5EF4-FFF2-40B4-BE49-F238E27FC236}">
                    <a16:creationId xmlns:a16="http://schemas.microsoft.com/office/drawing/2014/main" id="{E4085756-F93A-4085-9ECA-5E1B19C3B03A}"/>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orma libre: forma 30">
                <a:extLst>
                  <a:ext uri="{FF2B5EF4-FFF2-40B4-BE49-F238E27FC236}">
                    <a16:creationId xmlns:a16="http://schemas.microsoft.com/office/drawing/2014/main" id="{F28F5F66-A1ED-4251-8C2E-D82A8B3EBC86}"/>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Forma libre: forma 37">
                <a:extLst>
                  <a:ext uri="{FF2B5EF4-FFF2-40B4-BE49-F238E27FC236}">
                    <a16:creationId xmlns:a16="http://schemas.microsoft.com/office/drawing/2014/main" id="{C153FCD3-F150-470B-9719-7F2B46B912A8}"/>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ectángulo 5">
                <a:extLst>
                  <a:ext uri="{FF2B5EF4-FFF2-40B4-BE49-F238E27FC236}">
                    <a16:creationId xmlns:a16="http://schemas.microsoft.com/office/drawing/2014/main" id="{D9BD065F-10A4-46BF-A75B-7AAE394D3BE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2" name="Grupo 11">
              <a:extLst>
                <a:ext uri="{FF2B5EF4-FFF2-40B4-BE49-F238E27FC236}">
                  <a16:creationId xmlns:a16="http://schemas.microsoft.com/office/drawing/2014/main" id="{899CB9E5-B5A5-4B16-8B1B-292D50457BC8}"/>
                </a:ext>
              </a:extLst>
            </p:cNvPr>
            <p:cNvGrpSpPr/>
            <p:nvPr userDrawn="1"/>
          </p:nvGrpSpPr>
          <p:grpSpPr>
            <a:xfrm flipH="1">
              <a:off x="6696074" y="4963396"/>
              <a:ext cx="6705600" cy="1894604"/>
              <a:chOff x="0" y="3413266"/>
              <a:chExt cx="12192000" cy="3444734"/>
            </a:xfrm>
          </p:grpSpPr>
          <p:sp>
            <p:nvSpPr>
              <p:cNvPr id="13" name="Triángulo rectángulo 12">
                <a:extLst>
                  <a:ext uri="{FF2B5EF4-FFF2-40B4-BE49-F238E27FC236}">
                    <a16:creationId xmlns:a16="http://schemas.microsoft.com/office/drawing/2014/main" id="{ECE871C8-99B6-4B5A-90FC-0B3AE537302C}"/>
                  </a:ext>
                </a:extLst>
              </p:cNvPr>
              <p:cNvSpPr/>
              <p:nvPr userDrawn="1"/>
            </p:nvSpPr>
            <p:spPr>
              <a:xfrm>
                <a:off x="3094891" y="3692769"/>
                <a:ext cx="3956539" cy="316523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0">
                <a:extLst>
                  <a:ext uri="{FF2B5EF4-FFF2-40B4-BE49-F238E27FC236}">
                    <a16:creationId xmlns:a16="http://schemas.microsoft.com/office/drawing/2014/main" id="{C1F66F69-777C-47E9-B2C0-290C92C647A3}"/>
                  </a:ext>
                </a:extLst>
              </p:cNvPr>
              <p:cNvSpPr/>
              <p:nvPr userDrawn="1"/>
            </p:nvSpPr>
            <p:spPr>
              <a:xfrm>
                <a:off x="9694862" y="6032500"/>
                <a:ext cx="2497137" cy="825500"/>
              </a:xfrm>
              <a:custGeom>
                <a:avLst/>
                <a:gdLst>
                  <a:gd name="connsiteX0" fmla="*/ 0 w 2235200"/>
                  <a:gd name="connsiteY0" fmla="*/ 0 h 825500"/>
                  <a:gd name="connsiteX1" fmla="*/ 2235200 w 2235200"/>
                  <a:gd name="connsiteY1" fmla="*/ 0 h 825500"/>
                  <a:gd name="connsiteX2" fmla="*/ 2235200 w 2235200"/>
                  <a:gd name="connsiteY2" fmla="*/ 825500 h 825500"/>
                  <a:gd name="connsiteX3" fmla="*/ 0 w 2235200"/>
                  <a:gd name="connsiteY3" fmla="*/ 825500 h 825500"/>
                  <a:gd name="connsiteX4" fmla="*/ 0 w 2235200"/>
                  <a:gd name="connsiteY4" fmla="*/ 0 h 825500"/>
                  <a:gd name="connsiteX0" fmla="*/ 261937 w 2497137"/>
                  <a:gd name="connsiteY0" fmla="*/ 0 h 825500"/>
                  <a:gd name="connsiteX1" fmla="*/ 2497137 w 2497137"/>
                  <a:gd name="connsiteY1" fmla="*/ 0 h 825500"/>
                  <a:gd name="connsiteX2" fmla="*/ 2497137 w 2497137"/>
                  <a:gd name="connsiteY2" fmla="*/ 825500 h 825500"/>
                  <a:gd name="connsiteX3" fmla="*/ 0 w 2497137"/>
                  <a:gd name="connsiteY3" fmla="*/ 825500 h 825500"/>
                  <a:gd name="connsiteX4" fmla="*/ 261937 w 2497137"/>
                  <a:gd name="connsiteY4" fmla="*/ 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137" h="825500">
                    <a:moveTo>
                      <a:pt x="261937" y="0"/>
                    </a:moveTo>
                    <a:lnTo>
                      <a:pt x="2497137" y="0"/>
                    </a:lnTo>
                    <a:lnTo>
                      <a:pt x="2497137" y="825500"/>
                    </a:lnTo>
                    <a:lnTo>
                      <a:pt x="0" y="825500"/>
                    </a:lnTo>
                    <a:lnTo>
                      <a:pt x="26193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riángulo rectángulo 11">
                <a:extLst>
                  <a:ext uri="{FF2B5EF4-FFF2-40B4-BE49-F238E27FC236}">
                    <a16:creationId xmlns:a16="http://schemas.microsoft.com/office/drawing/2014/main" id="{A82045ED-A092-4168-B841-F0F78E64A2AC}"/>
                  </a:ext>
                </a:extLst>
              </p:cNvPr>
              <p:cNvSpPr/>
              <p:nvPr userDrawn="1"/>
            </p:nvSpPr>
            <p:spPr>
              <a:xfrm>
                <a:off x="9644062" y="4312444"/>
                <a:ext cx="2547938" cy="897731"/>
              </a:xfrm>
              <a:custGeom>
                <a:avLst/>
                <a:gdLst>
                  <a:gd name="connsiteX0" fmla="*/ 0 w 2547938"/>
                  <a:gd name="connsiteY0" fmla="*/ 897731 h 897731"/>
                  <a:gd name="connsiteX1" fmla="*/ 0 w 2547938"/>
                  <a:gd name="connsiteY1" fmla="*/ 0 h 897731"/>
                  <a:gd name="connsiteX2" fmla="*/ 2547938 w 2547938"/>
                  <a:gd name="connsiteY2" fmla="*/ 897731 h 897731"/>
                  <a:gd name="connsiteX3" fmla="*/ 0 w 2547938"/>
                  <a:gd name="connsiteY3" fmla="*/ 897731 h 897731"/>
                  <a:gd name="connsiteX0" fmla="*/ 2547938 w 2547938"/>
                  <a:gd name="connsiteY0" fmla="*/ 897731 h 897731"/>
                  <a:gd name="connsiteX1" fmla="*/ 0 w 2547938"/>
                  <a:gd name="connsiteY1" fmla="*/ 0 h 897731"/>
                  <a:gd name="connsiteX2" fmla="*/ 2547938 w 2547938"/>
                  <a:gd name="connsiteY2" fmla="*/ 897731 h 897731"/>
                </a:gdLst>
                <a:ahLst/>
                <a:cxnLst>
                  <a:cxn ang="0">
                    <a:pos x="connsiteX0" y="connsiteY0"/>
                  </a:cxn>
                  <a:cxn ang="0">
                    <a:pos x="connsiteX1" y="connsiteY1"/>
                  </a:cxn>
                  <a:cxn ang="0">
                    <a:pos x="connsiteX2" y="connsiteY2"/>
                  </a:cxn>
                </a:cxnLst>
                <a:rect l="l" t="t" r="r" b="b"/>
                <a:pathLst>
                  <a:path w="2547938" h="897731">
                    <a:moveTo>
                      <a:pt x="2547938" y="897731"/>
                    </a:moveTo>
                    <a:lnTo>
                      <a:pt x="0" y="0"/>
                    </a:lnTo>
                    <a:lnTo>
                      <a:pt x="2547938" y="89773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6B53BC36-7CBC-4B75-9964-3F70CD57E124}"/>
                  </a:ext>
                </a:extLst>
              </p:cNvPr>
              <p:cNvSpPr/>
              <p:nvPr userDrawn="1"/>
            </p:nvSpPr>
            <p:spPr>
              <a:xfrm>
                <a:off x="9644062" y="3692768"/>
                <a:ext cx="2547938" cy="1517406"/>
              </a:xfrm>
              <a:custGeom>
                <a:avLst/>
                <a:gdLst>
                  <a:gd name="connsiteX0" fmla="*/ 2547938 w 2547938"/>
                  <a:gd name="connsiteY0" fmla="*/ 0 h 1517406"/>
                  <a:gd name="connsiteX1" fmla="*/ 2547938 w 2547938"/>
                  <a:gd name="connsiteY1" fmla="*/ 1517406 h 1517406"/>
                  <a:gd name="connsiteX2" fmla="*/ 701675 w 2547938"/>
                  <a:gd name="connsiteY2" fmla="*/ 1514231 h 1517406"/>
                  <a:gd name="connsiteX3" fmla="*/ 4559 w 2547938"/>
                  <a:gd name="connsiteY3" fmla="*/ 625487 h 1517406"/>
                  <a:gd name="connsiteX4" fmla="*/ 0 w 2547938"/>
                  <a:gd name="connsiteY4" fmla="*/ 623888 h 1517406"/>
                  <a:gd name="connsiteX5" fmla="*/ 2772 w 2547938"/>
                  <a:gd name="connsiteY5" fmla="*/ 623209 h 1517406"/>
                  <a:gd name="connsiteX6" fmla="*/ 0 w 2547938"/>
                  <a:gd name="connsiteY6" fmla="*/ 619675 h 1517406"/>
                  <a:gd name="connsiteX7" fmla="*/ 7055 w 2547938"/>
                  <a:gd name="connsiteY7" fmla="*/ 622161 h 151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938" h="1517406">
                    <a:moveTo>
                      <a:pt x="2547938" y="0"/>
                    </a:moveTo>
                    <a:lnTo>
                      <a:pt x="2547938" y="1517406"/>
                    </a:lnTo>
                    <a:lnTo>
                      <a:pt x="701675" y="1514231"/>
                    </a:lnTo>
                    <a:lnTo>
                      <a:pt x="4559" y="625487"/>
                    </a:lnTo>
                    <a:lnTo>
                      <a:pt x="0" y="623888"/>
                    </a:lnTo>
                    <a:lnTo>
                      <a:pt x="2772" y="623209"/>
                    </a:lnTo>
                    <a:lnTo>
                      <a:pt x="0" y="619675"/>
                    </a:lnTo>
                    <a:lnTo>
                      <a:pt x="7055" y="6221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Forma libre: forma 16">
                <a:extLst>
                  <a:ext uri="{FF2B5EF4-FFF2-40B4-BE49-F238E27FC236}">
                    <a16:creationId xmlns:a16="http://schemas.microsoft.com/office/drawing/2014/main" id="{8516516F-2223-4B0F-A880-6EDC09C0EDAD}"/>
                  </a:ext>
                </a:extLst>
              </p:cNvPr>
              <p:cNvSpPr/>
              <p:nvPr userDrawn="1"/>
            </p:nvSpPr>
            <p:spPr>
              <a:xfrm>
                <a:off x="0" y="4121437"/>
                <a:ext cx="2358556" cy="2736563"/>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556" h="2736563">
                    <a:moveTo>
                      <a:pt x="835272" y="0"/>
                    </a:moveTo>
                    <a:lnTo>
                      <a:pt x="2358556" y="2103068"/>
                    </a:lnTo>
                    <a:lnTo>
                      <a:pt x="1821862" y="2736563"/>
                    </a:lnTo>
                    <a:lnTo>
                      <a:pt x="1184" y="2736563"/>
                    </a:lnTo>
                    <a:lnTo>
                      <a:pt x="0" y="2734944"/>
                    </a:lnTo>
                    <a:lnTo>
                      <a:pt x="0" y="478869"/>
                    </a:lnTo>
                    <a:lnTo>
                      <a:pt x="8352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5">
                <a:extLst>
                  <a:ext uri="{FF2B5EF4-FFF2-40B4-BE49-F238E27FC236}">
                    <a16:creationId xmlns:a16="http://schemas.microsoft.com/office/drawing/2014/main" id="{43B9960D-A8E2-40FC-9B49-36F468AE8E1D}"/>
                  </a:ext>
                </a:extLst>
              </p:cNvPr>
              <p:cNvSpPr/>
              <p:nvPr userDrawn="1"/>
            </p:nvSpPr>
            <p:spPr>
              <a:xfrm rot="2392396">
                <a:off x="5182813" y="3413266"/>
                <a:ext cx="4794444" cy="2120748"/>
              </a:xfrm>
              <a:custGeom>
                <a:avLst/>
                <a:gdLst>
                  <a:gd name="connsiteX0" fmla="*/ 0 w 4804144"/>
                  <a:gd name="connsiteY0" fmla="*/ 0 h 914400"/>
                  <a:gd name="connsiteX1" fmla="*/ 4804144 w 4804144"/>
                  <a:gd name="connsiteY1" fmla="*/ 0 h 914400"/>
                  <a:gd name="connsiteX2" fmla="*/ 4804144 w 4804144"/>
                  <a:gd name="connsiteY2" fmla="*/ 914400 h 914400"/>
                  <a:gd name="connsiteX3" fmla="*/ 0 w 4804144"/>
                  <a:gd name="connsiteY3" fmla="*/ 914400 h 914400"/>
                  <a:gd name="connsiteX4" fmla="*/ 0 w 4804144"/>
                  <a:gd name="connsiteY4" fmla="*/ 0 h 914400"/>
                  <a:gd name="connsiteX0" fmla="*/ 0 w 4804144"/>
                  <a:gd name="connsiteY0" fmla="*/ 1206348 h 2120748"/>
                  <a:gd name="connsiteX1" fmla="*/ 3538287 w 4804144"/>
                  <a:gd name="connsiteY1" fmla="*/ 0 h 2120748"/>
                  <a:gd name="connsiteX2" fmla="*/ 4804144 w 4804144"/>
                  <a:gd name="connsiteY2" fmla="*/ 2120748 h 2120748"/>
                  <a:gd name="connsiteX3" fmla="*/ 0 w 4804144"/>
                  <a:gd name="connsiteY3" fmla="*/ 2120748 h 2120748"/>
                  <a:gd name="connsiteX4" fmla="*/ 0 w 4804144"/>
                  <a:gd name="connsiteY4" fmla="*/ 1206348 h 2120748"/>
                  <a:gd name="connsiteX0" fmla="*/ 2280773 w 4804144"/>
                  <a:gd name="connsiteY0" fmla="*/ 145082 h 2120748"/>
                  <a:gd name="connsiteX1" fmla="*/ 3538287 w 4804144"/>
                  <a:gd name="connsiteY1" fmla="*/ 0 h 2120748"/>
                  <a:gd name="connsiteX2" fmla="*/ 4804144 w 4804144"/>
                  <a:gd name="connsiteY2" fmla="*/ 2120748 h 2120748"/>
                  <a:gd name="connsiteX3" fmla="*/ 0 w 4804144"/>
                  <a:gd name="connsiteY3" fmla="*/ 2120748 h 2120748"/>
                  <a:gd name="connsiteX4" fmla="*/ 2280773 w 4804144"/>
                  <a:gd name="connsiteY4" fmla="*/ 145082 h 2120748"/>
                  <a:gd name="connsiteX0" fmla="*/ 2271073 w 4794444"/>
                  <a:gd name="connsiteY0" fmla="*/ 145082 h 2120748"/>
                  <a:gd name="connsiteX1" fmla="*/ 3528587 w 4794444"/>
                  <a:gd name="connsiteY1" fmla="*/ 0 h 2120748"/>
                  <a:gd name="connsiteX2" fmla="*/ 4794444 w 4794444"/>
                  <a:gd name="connsiteY2" fmla="*/ 2120748 h 2120748"/>
                  <a:gd name="connsiteX3" fmla="*/ 0 w 4794444"/>
                  <a:gd name="connsiteY3" fmla="*/ 2072930 h 2120748"/>
                  <a:gd name="connsiteX4" fmla="*/ 2271073 w 4794444"/>
                  <a:gd name="connsiteY4" fmla="*/ 145082 h 212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444" h="2120748">
                    <a:moveTo>
                      <a:pt x="2271073" y="145082"/>
                    </a:moveTo>
                    <a:lnTo>
                      <a:pt x="3528587" y="0"/>
                    </a:lnTo>
                    <a:lnTo>
                      <a:pt x="4794444" y="2120748"/>
                    </a:lnTo>
                    <a:lnTo>
                      <a:pt x="0" y="2072930"/>
                    </a:lnTo>
                    <a:lnTo>
                      <a:pt x="2271073" y="14508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pic>
        <p:nvPicPr>
          <p:cNvPr id="20" name="Gráfico 19">
            <a:extLst>
              <a:ext uri="{FF2B5EF4-FFF2-40B4-BE49-F238E27FC236}">
                <a16:creationId xmlns:a16="http://schemas.microsoft.com/office/drawing/2014/main" id="{7BA5D2E8-F7C7-417D-A060-51A7F053B5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8850" y="482843"/>
            <a:ext cx="1944000" cy="733765"/>
          </a:xfrm>
          <a:prstGeom prst="rect">
            <a:avLst/>
          </a:prstGeom>
        </p:spPr>
      </p:pic>
      <p:sp>
        <p:nvSpPr>
          <p:cNvPr id="23" name="Título 1">
            <a:extLst>
              <a:ext uri="{FF2B5EF4-FFF2-40B4-BE49-F238E27FC236}">
                <a16:creationId xmlns:a16="http://schemas.microsoft.com/office/drawing/2014/main" id="{08DF8BF5-B401-4554-91CA-B471D0D5BBC7}"/>
              </a:ext>
            </a:extLst>
          </p:cNvPr>
          <p:cNvSpPr>
            <a:spLocks noGrp="1"/>
          </p:cNvSpPr>
          <p:nvPr>
            <p:ph type="ctrTitle" hasCustomPrompt="1"/>
          </p:nvPr>
        </p:nvSpPr>
        <p:spPr>
          <a:xfrm>
            <a:off x="500062" y="250616"/>
            <a:ext cx="9144000" cy="2387600"/>
          </a:xfrm>
        </p:spPr>
        <p:txBody>
          <a:bodyPr anchor="b"/>
          <a:lstStyle>
            <a:lvl1pPr algn="l">
              <a:defRPr sz="6000" b="1">
                <a:solidFill>
                  <a:schemeClr val="tx1"/>
                </a:solidFill>
              </a:defRPr>
            </a:lvl1pPr>
          </a:lstStyle>
          <a:p>
            <a:r>
              <a:rPr lang="en-GB" noProof="0" dirty="0"/>
              <a:t>Title</a:t>
            </a:r>
          </a:p>
        </p:txBody>
      </p:sp>
      <p:sp>
        <p:nvSpPr>
          <p:cNvPr id="24" name="Subtítulo 2">
            <a:extLst>
              <a:ext uri="{FF2B5EF4-FFF2-40B4-BE49-F238E27FC236}">
                <a16:creationId xmlns:a16="http://schemas.microsoft.com/office/drawing/2014/main" id="{D6CFD4FC-03A8-43E9-A50E-74C8D03E3E22}"/>
              </a:ext>
            </a:extLst>
          </p:cNvPr>
          <p:cNvSpPr>
            <a:spLocks noGrp="1"/>
          </p:cNvSpPr>
          <p:nvPr>
            <p:ph type="subTitle" idx="1" hasCustomPrompt="1"/>
          </p:nvPr>
        </p:nvSpPr>
        <p:spPr>
          <a:xfrm>
            <a:off x="500062" y="2730291"/>
            <a:ext cx="9144000" cy="336594"/>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16567982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full colour image">
    <p:bg>
      <p:bgRef idx="1001">
        <a:schemeClr val="bg1"/>
      </p:bgRef>
    </p:bg>
    <p:spTree>
      <p:nvGrpSpPr>
        <p:cNvPr id="1" name=""/>
        <p:cNvGrpSpPr/>
        <p:nvPr/>
      </p:nvGrpSpPr>
      <p:grpSpPr>
        <a:xfrm>
          <a:off x="0" y="0"/>
          <a:ext cx="0" cy="0"/>
          <a:chOff x="0" y="0"/>
          <a:chExt cx="0" cy="0"/>
        </a:xfrm>
      </p:grpSpPr>
      <p:pic>
        <p:nvPicPr>
          <p:cNvPr id="5" name="Marcador de posición de imagen 20" descr="Un atardecer en una montaña&#10;&#10;Descripción generada automáticamente">
            <a:extLst>
              <a:ext uri="{FF2B5EF4-FFF2-40B4-BE49-F238E27FC236}">
                <a16:creationId xmlns:a16="http://schemas.microsoft.com/office/drawing/2014/main" id="{F23F5DF8-EC3C-44B9-9672-7F623564257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t="22" b="22"/>
          <a:stretch/>
        </p:blipFill>
        <p:spPr>
          <a:xfrm>
            <a:off x="0" y="0"/>
            <a:ext cx="12192000" cy="6857999"/>
          </a:xfrm>
          <a:prstGeom prst="rect">
            <a:avLst/>
          </a:prstGeom>
          <a:solidFill>
            <a:schemeClr val="tx1"/>
          </a:solidFill>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6" name="Gráfico 8">
            <a:extLst>
              <a:ext uri="{FF2B5EF4-FFF2-40B4-BE49-F238E27FC236}">
                <a16:creationId xmlns:a16="http://schemas.microsoft.com/office/drawing/2014/main" id="{0C76D0EC-E180-44C4-AED1-21FE4F60776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Tree>
    <p:extLst>
      <p:ext uri="{BB962C8B-B14F-4D97-AF65-F5344CB8AC3E}">
        <p14:creationId xmlns:p14="http://schemas.microsoft.com/office/powerpoint/2010/main" val="357240580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grayscale image">
    <p:bg>
      <p:bgRef idx="1001">
        <a:schemeClr val="bg1"/>
      </p:bgRef>
    </p:bg>
    <p:spTree>
      <p:nvGrpSpPr>
        <p:cNvPr id="1" name=""/>
        <p:cNvGrpSpPr/>
        <p:nvPr/>
      </p:nvGrpSpPr>
      <p:grpSpPr>
        <a:xfrm>
          <a:off x="0" y="0"/>
          <a:ext cx="0" cy="0"/>
          <a:chOff x="0" y="0"/>
          <a:chExt cx="0" cy="0"/>
        </a:xfrm>
      </p:grpSpPr>
      <p:pic>
        <p:nvPicPr>
          <p:cNvPr id="9" name="Marcador de posición de imagen 6" descr="Una imagen de un campo&#10;&#10;Descripción generada automáticamente">
            <a:extLst>
              <a:ext uri="{FF2B5EF4-FFF2-40B4-BE49-F238E27FC236}">
                <a16:creationId xmlns:a16="http://schemas.microsoft.com/office/drawing/2014/main" id="{F85D799D-0DAF-421A-9BEF-698379BAB85F}"/>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17" b="17"/>
          <a:stretch/>
        </p:blipFill>
        <p:spPr>
          <a:xfrm>
            <a:off x="0" y="1"/>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6" name="Gráfico 9">
            <a:extLst>
              <a:ext uri="{FF2B5EF4-FFF2-40B4-BE49-F238E27FC236}">
                <a16:creationId xmlns:a16="http://schemas.microsoft.com/office/drawing/2014/main" id="{66B5EC81-B878-41CD-B678-0D9B6E3C9AE6}"/>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9040682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sepia image">
    <p:bg>
      <p:bgRef idx="1001">
        <a:schemeClr val="bg1"/>
      </p:bgRef>
    </p:bg>
    <p:spTree>
      <p:nvGrpSpPr>
        <p:cNvPr id="1" name=""/>
        <p:cNvGrpSpPr/>
        <p:nvPr/>
      </p:nvGrpSpPr>
      <p:grpSpPr>
        <a:xfrm>
          <a:off x="0" y="0"/>
          <a:ext cx="0" cy="0"/>
          <a:chOff x="0" y="0"/>
          <a:chExt cx="0" cy="0"/>
        </a:xfrm>
      </p:grpSpPr>
      <p:pic>
        <p:nvPicPr>
          <p:cNvPr id="6" name="Marcador de posición de imagen 6" descr="Una imagen de un campo&#10;&#10;Descripción generada automáticamente">
            <a:extLst>
              <a:ext uri="{FF2B5EF4-FFF2-40B4-BE49-F238E27FC236}">
                <a16:creationId xmlns:a16="http://schemas.microsoft.com/office/drawing/2014/main" id="{746F548F-A116-4750-A3AE-F3DB11BE2408}"/>
              </a:ext>
            </a:extLst>
          </p:cNvPr>
          <p:cNvPicPr>
            <a:picLocks noChangeAspect="1"/>
          </p:cNvPicPr>
          <p:nvPr userDrawn="1"/>
        </p:nvPicPr>
        <p:blipFill rotWithShape="1">
          <a:blip r:embed="rId2" cstate="print">
            <a:duotone>
              <a:prstClr val="black"/>
              <a:srgbClr val="D9C3A5">
                <a:tint val="50000"/>
                <a:satMod val="180000"/>
              </a:srgbClr>
            </a:duotone>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Date</a:t>
            </a:r>
          </a:p>
        </p:txBody>
      </p:sp>
      <p:pic>
        <p:nvPicPr>
          <p:cNvPr id="7" name="Gráfico 8">
            <a:extLst>
              <a:ext uri="{FF2B5EF4-FFF2-40B4-BE49-F238E27FC236}">
                <a16:creationId xmlns:a16="http://schemas.microsoft.com/office/drawing/2014/main" id="{3E5CA9E6-8BF8-476F-9061-23A570B31FD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pic>
        <p:nvPicPr>
          <p:cNvPr id="9" name="Gráfico 9">
            <a:extLst>
              <a:ext uri="{FF2B5EF4-FFF2-40B4-BE49-F238E27FC236}">
                <a16:creationId xmlns:a16="http://schemas.microsoft.com/office/drawing/2014/main" id="{82CC9576-6C9C-4FDD-A98A-B2C05FFD6520}"/>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0574" t="31321" r="8809" b="11117"/>
          <a:stretch/>
        </p:blipFill>
        <p:spPr>
          <a:xfrm>
            <a:off x="6917900" y="1663337"/>
            <a:ext cx="4557600" cy="4564085"/>
          </a:xfrm>
          <a:prstGeom prst="rect">
            <a:avLst/>
          </a:prstGeom>
        </p:spPr>
      </p:pic>
    </p:spTree>
    <p:extLst>
      <p:ext uri="{BB962C8B-B14F-4D97-AF65-F5344CB8AC3E}">
        <p14:creationId xmlns:p14="http://schemas.microsoft.com/office/powerpoint/2010/main" val="386552176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accent1"/>
        </a:solidFill>
        <a:effectLst/>
      </p:bgPr>
    </p:bg>
    <p:spTree>
      <p:nvGrpSpPr>
        <p:cNvPr id="1" name=""/>
        <p:cNvGrpSpPr/>
        <p:nvPr/>
      </p:nvGrpSpPr>
      <p:grpSpPr>
        <a:xfrm>
          <a:off x="0" y="0"/>
          <a:ext cx="0" cy="0"/>
          <a:chOff x="0" y="0"/>
          <a:chExt cx="0" cy="0"/>
        </a:xfrm>
      </p:grpSpPr>
      <p:pic>
        <p:nvPicPr>
          <p:cNvPr id="11" name="Marcador de posición de imagen 5" descr="Una imagen de un campo&#10;&#10;Descripción generada automáticamente">
            <a:extLst>
              <a:ext uri="{FF2B5EF4-FFF2-40B4-BE49-F238E27FC236}">
                <a16:creationId xmlns:a16="http://schemas.microsoft.com/office/drawing/2014/main" id="{CAAAECAC-5B76-4FEE-87DF-E1F79698759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sp>
        <p:nvSpPr>
          <p:cNvPr id="5" name="Gráfico 3">
            <a:extLst>
              <a:ext uri="{FF2B5EF4-FFF2-40B4-BE49-F238E27FC236}">
                <a16:creationId xmlns:a16="http://schemas.microsoft.com/office/drawing/2014/main" id="{FD564B71-5A2B-4142-82C1-33057B3FB530}"/>
              </a:ext>
            </a:extLst>
          </p:cNvPr>
          <p:cNvSpPr/>
          <p:nvPr/>
        </p:nvSpPr>
        <p:spPr>
          <a:xfrm rot="16200000">
            <a:off x="-1659603" y="-4733129"/>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2">
                <a:lumMod val="60000"/>
                <a:lumOff val="40000"/>
                <a:alpha val="56000"/>
              </a:schemeClr>
            </a:solidFill>
            <a:prstDash val="solid"/>
            <a:miter/>
          </a:ln>
        </p:spPr>
        <p:txBody>
          <a:bodyPr rtlCol="0" anchor="ctr"/>
          <a:lstStyle/>
          <a:p>
            <a:endParaRPr lang="es-ES"/>
          </a:p>
        </p:txBody>
      </p:sp>
      <p:pic>
        <p:nvPicPr>
          <p:cNvPr id="7" name="Gráfico 6">
            <a:extLst>
              <a:ext uri="{FF2B5EF4-FFF2-40B4-BE49-F238E27FC236}">
                <a16:creationId xmlns:a16="http://schemas.microsoft.com/office/drawing/2014/main" id="{EC9087C5-C4AD-4743-A79A-6CCC6479F3B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0574" t="31321" r="8809" b="11117"/>
          <a:stretch/>
        </p:blipFill>
        <p:spPr>
          <a:xfrm>
            <a:off x="6898850" y="1663337"/>
            <a:ext cx="4557600" cy="4564085"/>
          </a:xfrm>
          <a:prstGeom prst="rect">
            <a:avLst/>
          </a:prstGeom>
        </p:spPr>
      </p:pic>
      <p:pic>
        <p:nvPicPr>
          <p:cNvPr id="10" name="Gráfico 8">
            <a:extLst>
              <a:ext uri="{FF2B5EF4-FFF2-40B4-BE49-F238E27FC236}">
                <a16:creationId xmlns:a16="http://schemas.microsoft.com/office/drawing/2014/main" id="{6E1A8621-848C-4267-ACCC-1553B2E9DAD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31850" y="482843"/>
            <a:ext cx="1944000" cy="733765"/>
          </a:xfrm>
          <a:custGeom>
            <a:avLst/>
            <a:gdLst>
              <a:gd name="connsiteX0" fmla="*/ 0 w 1944000"/>
              <a:gd name="connsiteY0" fmla="*/ 0 h 733765"/>
              <a:gd name="connsiteX1" fmla="*/ 1944000 w 1944000"/>
              <a:gd name="connsiteY1" fmla="*/ 0 h 733765"/>
              <a:gd name="connsiteX2" fmla="*/ 1944000 w 1944000"/>
              <a:gd name="connsiteY2" fmla="*/ 733765 h 733765"/>
              <a:gd name="connsiteX3" fmla="*/ 0 w 1944000"/>
              <a:gd name="connsiteY3" fmla="*/ 733765 h 733765"/>
            </a:gdLst>
            <a:ahLst/>
            <a:cxnLst>
              <a:cxn ang="0">
                <a:pos x="connsiteX0" y="connsiteY0"/>
              </a:cxn>
              <a:cxn ang="0">
                <a:pos x="connsiteX1" y="connsiteY1"/>
              </a:cxn>
              <a:cxn ang="0">
                <a:pos x="connsiteX2" y="connsiteY2"/>
              </a:cxn>
              <a:cxn ang="0">
                <a:pos x="connsiteX3" y="connsiteY3"/>
              </a:cxn>
            </a:cxnLst>
            <a:rect l="l" t="t" r="r" b="b"/>
            <a:pathLst>
              <a:path w="1944000" h="733765">
                <a:moveTo>
                  <a:pt x="0" y="0"/>
                </a:moveTo>
                <a:lnTo>
                  <a:pt x="1944000" y="0"/>
                </a:lnTo>
                <a:lnTo>
                  <a:pt x="1944000" y="733765"/>
                </a:lnTo>
                <a:lnTo>
                  <a:pt x="0" y="733765"/>
                </a:lnTo>
                <a:close/>
              </a:path>
            </a:pathLst>
          </a:custGeom>
        </p:spPr>
      </p:pic>
      <p:sp>
        <p:nvSpPr>
          <p:cNvPr id="2" name="Título 1">
            <a:extLst>
              <a:ext uri="{FF2B5EF4-FFF2-40B4-BE49-F238E27FC236}">
                <a16:creationId xmlns:a16="http://schemas.microsoft.com/office/drawing/2014/main" id="{856393FF-2D66-4D3D-A57E-977F7C1898D6}"/>
              </a:ext>
            </a:extLst>
          </p:cNvPr>
          <p:cNvSpPr>
            <a:spLocks noGrp="1"/>
          </p:cNvSpPr>
          <p:nvPr>
            <p:ph type="title" hasCustomPrompt="1"/>
          </p:nvPr>
        </p:nvSpPr>
        <p:spPr>
          <a:xfrm>
            <a:off x="831850" y="3374685"/>
            <a:ext cx="5759450" cy="2353015"/>
          </a:xfrm>
        </p:spPr>
        <p:txBody>
          <a:bodyPr anchor="b"/>
          <a:lstStyle>
            <a:lvl1pPr>
              <a:defRPr sz="4800" b="1">
                <a:solidFill>
                  <a:schemeClr val="bg1"/>
                </a:solidFill>
              </a:defRPr>
            </a:lvl1pPr>
          </a:lstStyle>
          <a:p>
            <a:r>
              <a:rPr lang="en-GB" noProof="0" dirty="0"/>
              <a:t>Title</a:t>
            </a:r>
          </a:p>
        </p:txBody>
      </p:sp>
      <p:sp>
        <p:nvSpPr>
          <p:cNvPr id="8" name="Subtítulo 2">
            <a:extLst>
              <a:ext uri="{FF2B5EF4-FFF2-40B4-BE49-F238E27FC236}">
                <a16:creationId xmlns:a16="http://schemas.microsoft.com/office/drawing/2014/main" id="{F6708FCE-1692-4C1E-9FB2-8D2557F18978}"/>
              </a:ext>
            </a:extLst>
          </p:cNvPr>
          <p:cNvSpPr>
            <a:spLocks noGrp="1"/>
          </p:cNvSpPr>
          <p:nvPr>
            <p:ph type="subTitle" idx="1" hasCustomPrompt="1"/>
          </p:nvPr>
        </p:nvSpPr>
        <p:spPr>
          <a:xfrm>
            <a:off x="831850" y="5890828"/>
            <a:ext cx="57594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spTree>
    <p:extLst>
      <p:ext uri="{BB962C8B-B14F-4D97-AF65-F5344CB8AC3E}">
        <p14:creationId xmlns:p14="http://schemas.microsoft.com/office/powerpoint/2010/main" val="277494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4">
    <p:bg>
      <p:bgPr>
        <a:solidFill>
          <a:schemeClr val="accent5"/>
        </a:solidFill>
        <a:effectLst/>
      </p:bgPr>
    </p:bg>
    <p:spTree>
      <p:nvGrpSpPr>
        <p:cNvPr id="1" name=""/>
        <p:cNvGrpSpPr/>
        <p:nvPr/>
      </p:nvGrpSpPr>
      <p:grpSpPr>
        <a:xfrm>
          <a:off x="0" y="0"/>
          <a:ext cx="0" cy="0"/>
          <a:chOff x="0" y="0"/>
          <a:chExt cx="0" cy="0"/>
        </a:xfrm>
      </p:grpSpPr>
      <p:sp>
        <p:nvSpPr>
          <p:cNvPr id="17" name="Gráfico 3">
            <a:extLst>
              <a:ext uri="{FF2B5EF4-FFF2-40B4-BE49-F238E27FC236}">
                <a16:creationId xmlns:a16="http://schemas.microsoft.com/office/drawing/2014/main" id="{63EC79E4-8304-4081-9085-FDE5AFD152EE}"/>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5">
                <a:lumMod val="20000"/>
                <a:lumOff val="80000"/>
                <a:alpha val="56000"/>
              </a:schemeClr>
            </a:solid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8909CE9C-11E1-4509-A48A-BF9EB7CBF565}"/>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Pentágono 3">
            <a:extLst>
              <a:ext uri="{FF2B5EF4-FFF2-40B4-BE49-F238E27FC236}">
                <a16:creationId xmlns:a16="http://schemas.microsoft.com/office/drawing/2014/main" id="{E7F05900-A768-479E-9289-439D731A9EAC}"/>
              </a:ext>
            </a:extLst>
          </p:cNvPr>
          <p:cNvSpPr/>
          <p:nvPr userDrawn="1"/>
        </p:nvSpPr>
        <p:spPr>
          <a:xfrm rot="16200000" flipV="1">
            <a:off x="505851" y="2244803"/>
            <a:ext cx="5551668" cy="6949428"/>
          </a:xfrm>
          <a:custGeom>
            <a:avLst/>
            <a:gdLst>
              <a:gd name="connsiteX0" fmla="*/ 5 w 5111749"/>
              <a:gd name="connsiteY0" fmla="*/ 1859533 h 4868332"/>
              <a:gd name="connsiteX1" fmla="*/ 2555875 w 5111749"/>
              <a:gd name="connsiteY1" fmla="*/ 0 h 4868332"/>
              <a:gd name="connsiteX2" fmla="*/ 5111744 w 5111749"/>
              <a:gd name="connsiteY2" fmla="*/ 1859533 h 4868332"/>
              <a:gd name="connsiteX3" fmla="*/ 4135488 w 5111749"/>
              <a:gd name="connsiteY3" fmla="*/ 4868320 h 4868332"/>
              <a:gd name="connsiteX4" fmla="*/ 976261 w 5111749"/>
              <a:gd name="connsiteY4" fmla="*/ 4868320 h 4868332"/>
              <a:gd name="connsiteX5" fmla="*/ 5 w 5111749"/>
              <a:gd name="connsiteY5" fmla="*/ 1859533 h 4868332"/>
              <a:gd name="connsiteX0" fmla="*/ 0 w 5140317"/>
              <a:gd name="connsiteY0" fmla="*/ 1859533 h 4868320"/>
              <a:gd name="connsiteX1" fmla="*/ 2555870 w 5140317"/>
              <a:gd name="connsiteY1" fmla="*/ 0 h 4868320"/>
              <a:gd name="connsiteX2" fmla="*/ 5140317 w 5140317"/>
              <a:gd name="connsiteY2" fmla="*/ 526030 h 4868320"/>
              <a:gd name="connsiteX3" fmla="*/ 4135483 w 5140317"/>
              <a:gd name="connsiteY3" fmla="*/ 4868320 h 4868320"/>
              <a:gd name="connsiteX4" fmla="*/ 976256 w 5140317"/>
              <a:gd name="connsiteY4" fmla="*/ 4868320 h 4868320"/>
              <a:gd name="connsiteX5" fmla="*/ 0 w 5140317"/>
              <a:gd name="connsiteY5" fmla="*/ 1859533 h 4868320"/>
              <a:gd name="connsiteX0" fmla="*/ 0 w 5140317"/>
              <a:gd name="connsiteY0" fmla="*/ 1859533 h 4868320"/>
              <a:gd name="connsiteX1" fmla="*/ 2555870 w 5140317"/>
              <a:gd name="connsiteY1" fmla="*/ 0 h 4868320"/>
              <a:gd name="connsiteX2" fmla="*/ 5140317 w 5140317"/>
              <a:gd name="connsiteY2" fmla="*/ 526030 h 4868320"/>
              <a:gd name="connsiteX3" fmla="*/ 4268836 w 5140317"/>
              <a:gd name="connsiteY3" fmla="*/ 4849270 h 4868320"/>
              <a:gd name="connsiteX4" fmla="*/ 976256 w 5140317"/>
              <a:gd name="connsiteY4" fmla="*/ 4868320 h 4868320"/>
              <a:gd name="connsiteX5" fmla="*/ 0 w 5140317"/>
              <a:gd name="connsiteY5" fmla="*/ 1859533 h 4868320"/>
              <a:gd name="connsiteX0" fmla="*/ 0 w 5140317"/>
              <a:gd name="connsiteY0" fmla="*/ 2221486 h 5230273"/>
              <a:gd name="connsiteX1" fmla="*/ 2212973 w 5140317"/>
              <a:gd name="connsiteY1" fmla="*/ 0 h 5230273"/>
              <a:gd name="connsiteX2" fmla="*/ 5140317 w 5140317"/>
              <a:gd name="connsiteY2" fmla="*/ 887983 h 5230273"/>
              <a:gd name="connsiteX3" fmla="*/ 4268836 w 5140317"/>
              <a:gd name="connsiteY3" fmla="*/ 5211223 h 5230273"/>
              <a:gd name="connsiteX4" fmla="*/ 976256 w 5140317"/>
              <a:gd name="connsiteY4" fmla="*/ 5230273 h 5230273"/>
              <a:gd name="connsiteX5" fmla="*/ 0 w 5140317"/>
              <a:gd name="connsiteY5" fmla="*/ 2221486 h 5230273"/>
              <a:gd name="connsiteX0" fmla="*/ 0 w 4178292"/>
              <a:gd name="connsiteY0" fmla="*/ 897511 h 5230273"/>
              <a:gd name="connsiteX1" fmla="*/ 1250948 w 4178292"/>
              <a:gd name="connsiteY1" fmla="*/ 0 h 5230273"/>
              <a:gd name="connsiteX2" fmla="*/ 4178292 w 4178292"/>
              <a:gd name="connsiteY2" fmla="*/ 887983 h 5230273"/>
              <a:gd name="connsiteX3" fmla="*/ 3306811 w 4178292"/>
              <a:gd name="connsiteY3" fmla="*/ 5211223 h 5230273"/>
              <a:gd name="connsiteX4" fmla="*/ 14231 w 4178292"/>
              <a:gd name="connsiteY4" fmla="*/ 5230273 h 5230273"/>
              <a:gd name="connsiteX5" fmla="*/ 0 w 4178292"/>
              <a:gd name="connsiteY5" fmla="*/ 897511 h 52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8292" h="5230273">
                <a:moveTo>
                  <a:pt x="0" y="897511"/>
                </a:moveTo>
                <a:lnTo>
                  <a:pt x="1250948" y="0"/>
                </a:lnTo>
                <a:lnTo>
                  <a:pt x="4178292" y="887983"/>
                </a:lnTo>
                <a:lnTo>
                  <a:pt x="3306811" y="5211223"/>
                </a:lnTo>
                <a:lnTo>
                  <a:pt x="14231" y="5230273"/>
                </a:lnTo>
                <a:cubicBezTo>
                  <a:pt x="9487" y="3786019"/>
                  <a:pt x="4744" y="2341765"/>
                  <a:pt x="0" y="897511"/>
                </a:cubicBez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360832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2"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tx2"/>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4" name="Marcador de posición de imagen 5" descr="Una imagen de un campo&#10;&#10;Descripción generada automáticamente">
            <a:extLst>
              <a:ext uri="{FF2B5EF4-FFF2-40B4-BE49-F238E27FC236}">
                <a16:creationId xmlns:a16="http://schemas.microsoft.com/office/drawing/2014/main" id="{158BE726-622E-4AFF-B420-75AE6279AEE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6" name="Gráfico 15">
            <a:extLst>
              <a:ext uri="{FF2B5EF4-FFF2-40B4-BE49-F238E27FC236}">
                <a16:creationId xmlns:a16="http://schemas.microsoft.com/office/drawing/2014/main" id="{C5806F2C-E410-40E2-9B3D-71D2E6759D8D}"/>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8650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accent4"/>
        </a:solidFill>
        <a:effectLst/>
      </p:bgPr>
    </p:bg>
    <p:spTree>
      <p:nvGrpSpPr>
        <p:cNvPr id="1" name=""/>
        <p:cNvGrpSpPr/>
        <p:nvPr/>
      </p:nvGrpSpPr>
      <p:grpSpPr>
        <a:xfrm>
          <a:off x="0" y="0"/>
          <a:ext cx="0" cy="0"/>
          <a:chOff x="0" y="0"/>
          <a:chExt cx="0" cy="0"/>
        </a:xfrm>
      </p:grpSpPr>
      <p:sp>
        <p:nvSpPr>
          <p:cNvPr id="19" name="Gráfico 3">
            <a:extLst>
              <a:ext uri="{FF2B5EF4-FFF2-40B4-BE49-F238E27FC236}">
                <a16:creationId xmlns:a16="http://schemas.microsoft.com/office/drawing/2014/main" id="{C9142CBD-55F3-42BC-8791-08064199D41C}"/>
              </a:ext>
            </a:extLst>
          </p:cNvPr>
          <p:cNvSpPr/>
          <p:nvPr userDrawn="1"/>
        </p:nvSpPr>
        <p:spPr>
          <a:xfrm rot="16200000">
            <a:off x="-1659603" y="-5357242"/>
            <a:ext cx="13589000" cy="20622504"/>
          </a:xfrm>
          <a:custGeom>
            <a:avLst/>
            <a:gdLst>
              <a:gd name="connsiteX0" fmla="*/ 0 w 4519013"/>
              <a:gd name="connsiteY0" fmla="*/ 3612849 h 6858000"/>
              <a:gd name="connsiteX1" fmla="*/ 0 w 4519013"/>
              <a:gd name="connsiteY1" fmla="*/ 0 h 6858000"/>
              <a:gd name="connsiteX2" fmla="*/ 2666960 w 4519013"/>
              <a:gd name="connsiteY2" fmla="*/ 2836941 h 6858000"/>
              <a:gd name="connsiteX3" fmla="*/ 557633 w 4519013"/>
              <a:gd name="connsiteY3" fmla="*/ 4097814 h 6858000"/>
              <a:gd name="connsiteX4" fmla="*/ 0 w 4519013"/>
              <a:gd name="connsiteY4" fmla="*/ 3612849 h 6858000"/>
              <a:gd name="connsiteX5" fmla="*/ 994819 w 4519013"/>
              <a:gd name="connsiteY5" fmla="*/ 0 h 6858000"/>
              <a:gd name="connsiteX6" fmla="*/ 2464876 w 4519013"/>
              <a:gd name="connsiteY6" fmla="*/ 0 h 6858000"/>
              <a:gd name="connsiteX7" fmla="*/ 2995039 w 4519013"/>
              <a:gd name="connsiteY7" fmla="*/ 460656 h 6858000"/>
              <a:gd name="connsiteX8" fmla="*/ 2802235 w 4519013"/>
              <a:gd name="connsiteY8" fmla="*/ 2048907 h 6858000"/>
              <a:gd name="connsiteX9" fmla="*/ 994819 w 4519013"/>
              <a:gd name="connsiteY9" fmla="*/ 0 h 6858000"/>
              <a:gd name="connsiteX10" fmla="*/ 3259616 w 4519013"/>
              <a:gd name="connsiteY10" fmla="*/ 410033 h 6858000"/>
              <a:gd name="connsiteX11" fmla="*/ 4519013 w 4519013"/>
              <a:gd name="connsiteY11" fmla="*/ 0 h 6858000"/>
              <a:gd name="connsiteX12" fmla="*/ 4519013 w 4519013"/>
              <a:gd name="connsiteY12" fmla="*/ 1019147 h 6858000"/>
              <a:gd name="connsiteX13" fmla="*/ 3598664 w 4519013"/>
              <a:gd name="connsiteY13" fmla="*/ 1019147 h 6858000"/>
              <a:gd name="connsiteX14" fmla="*/ 3259616 w 4519013"/>
              <a:gd name="connsiteY14" fmla="*/ 410033 h 6858000"/>
              <a:gd name="connsiteX15" fmla="*/ 3402688 w 4519013"/>
              <a:gd name="connsiteY15" fmla="*/ 1549953 h 6858000"/>
              <a:gd name="connsiteX16" fmla="*/ 4519013 w 4519013"/>
              <a:gd name="connsiteY16" fmla="*/ 1549953 h 6858000"/>
              <a:gd name="connsiteX17" fmla="*/ 4519013 w 4519013"/>
              <a:gd name="connsiteY17" fmla="*/ 2987900 h 6858000"/>
              <a:gd name="connsiteX18" fmla="*/ 4082198 w 4519013"/>
              <a:gd name="connsiteY18" fmla="*/ 3280372 h 6858000"/>
              <a:gd name="connsiteX19" fmla="*/ 3111450 w 4519013"/>
              <a:gd name="connsiteY19" fmla="*/ 2987900 h 6858000"/>
              <a:gd name="connsiteX20" fmla="*/ 3402688 w 4519013"/>
              <a:gd name="connsiteY20" fmla="*/ 1549953 h 6858000"/>
              <a:gd name="connsiteX21" fmla="*/ 994819 w 4519013"/>
              <a:gd name="connsiteY21" fmla="*/ 4414668 h 6858000"/>
              <a:gd name="connsiteX22" fmla="*/ 2542963 w 4519013"/>
              <a:gd name="connsiteY22" fmla="*/ 3397155 h 6858000"/>
              <a:gd name="connsiteX23" fmla="*/ 3534777 w 4519013"/>
              <a:gd name="connsiteY23" fmla="*/ 3639426 h 6858000"/>
              <a:gd name="connsiteX24" fmla="*/ 2900457 w 4519013"/>
              <a:gd name="connsiteY24" fmla="*/ 5286814 h 6858000"/>
              <a:gd name="connsiteX25" fmla="*/ 1744680 w 4519013"/>
              <a:gd name="connsiteY25" fmla="*/ 5286814 h 6858000"/>
              <a:gd name="connsiteX26" fmla="*/ 994819 w 4519013"/>
              <a:gd name="connsiteY26" fmla="*/ 4414668 h 6858000"/>
              <a:gd name="connsiteX27" fmla="*/ 0 w 4519013"/>
              <a:gd name="connsiteY27" fmla="*/ 6858000 h 6858000"/>
              <a:gd name="connsiteX28" fmla="*/ 0 w 4519013"/>
              <a:gd name="connsiteY28" fmla="*/ 4235822 h 6858000"/>
              <a:gd name="connsiteX29" fmla="*/ 1820307 w 4519013"/>
              <a:gd name="connsiteY29" fmla="*/ 6129584 h 6858000"/>
              <a:gd name="connsiteX30" fmla="*/ 1820307 w 4519013"/>
              <a:gd name="connsiteY30" fmla="*/ 6858000 h 6858000"/>
              <a:gd name="connsiteX31" fmla="*/ 0 w 4519013"/>
              <a:gd name="connsiteY31" fmla="*/ 6858000 h 6858000"/>
              <a:gd name="connsiteX32" fmla="*/ 2363103 w 4519013"/>
              <a:gd name="connsiteY32" fmla="*/ 6858000 h 6858000"/>
              <a:gd name="connsiteX33" fmla="*/ 2254215 w 4519013"/>
              <a:gd name="connsiteY33" fmla="*/ 5764543 h 6858000"/>
              <a:gd name="connsiteX34" fmla="*/ 3258125 w 4519013"/>
              <a:gd name="connsiteY34" fmla="*/ 5983257 h 6858000"/>
              <a:gd name="connsiteX35" fmla="*/ 3524194 w 4519013"/>
              <a:gd name="connsiteY35" fmla="*/ 6858000 h 6858000"/>
              <a:gd name="connsiteX36" fmla="*/ 2363103 w 4519013"/>
              <a:gd name="connsiteY36" fmla="*/ 6858000 h 6858000"/>
              <a:gd name="connsiteX37" fmla="*/ 3111450 w 4519013"/>
              <a:gd name="connsiteY37" fmla="*/ 5404157 h 6858000"/>
              <a:gd name="connsiteX38" fmla="*/ 4519013 w 4519013"/>
              <a:gd name="connsiteY38" fmla="*/ 3683783 h 6858000"/>
              <a:gd name="connsiteX39" fmla="*/ 4519013 w 4519013"/>
              <a:gd name="connsiteY39" fmla="*/ 6858000 h 6858000"/>
              <a:gd name="connsiteX40" fmla="*/ 3111450 w 4519013"/>
              <a:gd name="connsiteY40" fmla="*/ 5404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519013" h="6858000">
                <a:moveTo>
                  <a:pt x="0" y="3612849"/>
                </a:moveTo>
                <a:lnTo>
                  <a:pt x="0" y="0"/>
                </a:lnTo>
                <a:lnTo>
                  <a:pt x="2666960" y="2836941"/>
                </a:lnTo>
                <a:lnTo>
                  <a:pt x="557633" y="4097814"/>
                </a:lnTo>
                <a:lnTo>
                  <a:pt x="0" y="3612849"/>
                </a:lnTo>
                <a:close/>
                <a:moveTo>
                  <a:pt x="994819" y="0"/>
                </a:moveTo>
                <a:lnTo>
                  <a:pt x="2464876" y="0"/>
                </a:lnTo>
                <a:lnTo>
                  <a:pt x="2995039" y="460656"/>
                </a:lnTo>
                <a:lnTo>
                  <a:pt x="2802235" y="2048907"/>
                </a:lnTo>
                <a:lnTo>
                  <a:pt x="994819" y="0"/>
                </a:lnTo>
                <a:close/>
                <a:moveTo>
                  <a:pt x="3259616" y="410033"/>
                </a:moveTo>
                <a:lnTo>
                  <a:pt x="4519013" y="0"/>
                </a:lnTo>
                <a:lnTo>
                  <a:pt x="4519013" y="1019147"/>
                </a:lnTo>
                <a:lnTo>
                  <a:pt x="3598664" y="1019147"/>
                </a:lnTo>
                <a:lnTo>
                  <a:pt x="3259616" y="410033"/>
                </a:lnTo>
                <a:close/>
                <a:moveTo>
                  <a:pt x="3402688" y="1549953"/>
                </a:moveTo>
                <a:lnTo>
                  <a:pt x="4519013" y="1549953"/>
                </a:lnTo>
                <a:lnTo>
                  <a:pt x="4519013" y="2987900"/>
                </a:lnTo>
                <a:lnTo>
                  <a:pt x="4082198" y="3280372"/>
                </a:lnTo>
                <a:lnTo>
                  <a:pt x="3111450" y="2987900"/>
                </a:lnTo>
                <a:lnTo>
                  <a:pt x="3402688" y="1549953"/>
                </a:lnTo>
                <a:close/>
                <a:moveTo>
                  <a:pt x="994819" y="4414668"/>
                </a:moveTo>
                <a:lnTo>
                  <a:pt x="2542963" y="3397155"/>
                </a:lnTo>
                <a:lnTo>
                  <a:pt x="3534777" y="3639426"/>
                </a:lnTo>
                <a:lnTo>
                  <a:pt x="2900457" y="5286814"/>
                </a:lnTo>
                <a:lnTo>
                  <a:pt x="1744680" y="5286814"/>
                </a:lnTo>
                <a:lnTo>
                  <a:pt x="994819" y="4414668"/>
                </a:lnTo>
                <a:close/>
                <a:moveTo>
                  <a:pt x="0" y="6858000"/>
                </a:moveTo>
                <a:lnTo>
                  <a:pt x="0" y="4235822"/>
                </a:lnTo>
                <a:lnTo>
                  <a:pt x="1820307" y="6129584"/>
                </a:lnTo>
                <a:lnTo>
                  <a:pt x="1820307" y="6858000"/>
                </a:lnTo>
                <a:lnTo>
                  <a:pt x="0" y="6858000"/>
                </a:lnTo>
                <a:close/>
                <a:moveTo>
                  <a:pt x="2363103" y="6858000"/>
                </a:moveTo>
                <a:lnTo>
                  <a:pt x="2254215" y="5764543"/>
                </a:lnTo>
                <a:lnTo>
                  <a:pt x="3258125" y="5983257"/>
                </a:lnTo>
                <a:lnTo>
                  <a:pt x="3524194" y="6858000"/>
                </a:lnTo>
                <a:lnTo>
                  <a:pt x="2363103" y="6858000"/>
                </a:lnTo>
                <a:close/>
                <a:moveTo>
                  <a:pt x="3111450" y="5404157"/>
                </a:moveTo>
                <a:lnTo>
                  <a:pt x="4519013" y="3683783"/>
                </a:lnTo>
                <a:lnTo>
                  <a:pt x="4519013" y="6858000"/>
                </a:lnTo>
                <a:lnTo>
                  <a:pt x="3111450" y="5404157"/>
                </a:lnTo>
                <a:close/>
              </a:path>
            </a:pathLst>
          </a:custGeom>
          <a:noFill/>
          <a:ln w="6350" cap="flat">
            <a:solidFill>
              <a:schemeClr val="accent4">
                <a:lumMod val="75000"/>
                <a:alpha val="56000"/>
              </a:schemeClr>
            </a:solidFill>
            <a:prstDash val="solid"/>
            <a:miter/>
          </a:ln>
        </p:spPr>
        <p:txBody>
          <a:bodyPr rtlCol="0" anchor="ctr"/>
          <a:lstStyle/>
          <a:p>
            <a:endParaRPr lang="es-ES"/>
          </a:p>
        </p:txBody>
      </p:sp>
      <p:sp>
        <p:nvSpPr>
          <p:cNvPr id="20" name="Forma libre: forma 19">
            <a:extLst>
              <a:ext uri="{FF2B5EF4-FFF2-40B4-BE49-F238E27FC236}">
                <a16:creationId xmlns:a16="http://schemas.microsoft.com/office/drawing/2014/main" id="{7E4A6E42-2AA6-405D-9C59-F59EF7076799}"/>
              </a:ext>
            </a:extLst>
          </p:cNvPr>
          <p:cNvSpPr/>
          <p:nvPr userDrawn="1"/>
        </p:nvSpPr>
        <p:spPr>
          <a:xfrm rot="8004683">
            <a:off x="78830" y="-1367014"/>
            <a:ext cx="4340861" cy="4429864"/>
          </a:xfrm>
          <a:custGeom>
            <a:avLst/>
            <a:gdLst>
              <a:gd name="connsiteX0" fmla="*/ 835272 w 2358556"/>
              <a:gd name="connsiteY0" fmla="*/ 0 h 2736563"/>
              <a:gd name="connsiteX1" fmla="*/ 2358556 w 2358556"/>
              <a:gd name="connsiteY1" fmla="*/ 2103068 h 2736563"/>
              <a:gd name="connsiteX2" fmla="*/ 1821862 w 2358556"/>
              <a:gd name="connsiteY2" fmla="*/ 2736563 h 2736563"/>
              <a:gd name="connsiteX3" fmla="*/ 1184 w 2358556"/>
              <a:gd name="connsiteY3" fmla="*/ 2736563 h 2736563"/>
              <a:gd name="connsiteX4" fmla="*/ 0 w 2358556"/>
              <a:gd name="connsiteY4" fmla="*/ 2734944 h 2736563"/>
              <a:gd name="connsiteX5" fmla="*/ 0 w 2358556"/>
              <a:gd name="connsiteY5" fmla="*/ 478869 h 2736563"/>
              <a:gd name="connsiteX6" fmla="*/ 835272 w 2358556"/>
              <a:gd name="connsiteY6" fmla="*/ 0 h 2736563"/>
              <a:gd name="connsiteX0" fmla="*/ 1449502 w 2972786"/>
              <a:gd name="connsiteY0" fmla="*/ 0 h 2736563"/>
              <a:gd name="connsiteX1" fmla="*/ 2972786 w 2972786"/>
              <a:gd name="connsiteY1" fmla="*/ 2103068 h 2736563"/>
              <a:gd name="connsiteX2" fmla="*/ 2436092 w 2972786"/>
              <a:gd name="connsiteY2" fmla="*/ 2736563 h 2736563"/>
              <a:gd name="connsiteX3" fmla="*/ 615414 w 2972786"/>
              <a:gd name="connsiteY3" fmla="*/ 2736563 h 2736563"/>
              <a:gd name="connsiteX4" fmla="*/ 614230 w 2972786"/>
              <a:gd name="connsiteY4" fmla="*/ 2734944 h 2736563"/>
              <a:gd name="connsiteX5" fmla="*/ 0 w 2972786"/>
              <a:gd name="connsiteY5" fmla="*/ 813796 h 2736563"/>
              <a:gd name="connsiteX6" fmla="*/ 1449502 w 2972786"/>
              <a:gd name="connsiteY6" fmla="*/ 0 h 2736563"/>
              <a:gd name="connsiteX0" fmla="*/ 1459520 w 2972786"/>
              <a:gd name="connsiteY0" fmla="*/ 0 h 2322479"/>
              <a:gd name="connsiteX1" fmla="*/ 2972786 w 2972786"/>
              <a:gd name="connsiteY1" fmla="*/ 1688984 h 2322479"/>
              <a:gd name="connsiteX2" fmla="*/ 2436092 w 2972786"/>
              <a:gd name="connsiteY2" fmla="*/ 2322479 h 2322479"/>
              <a:gd name="connsiteX3" fmla="*/ 615414 w 2972786"/>
              <a:gd name="connsiteY3" fmla="*/ 2322479 h 2322479"/>
              <a:gd name="connsiteX4" fmla="*/ 614230 w 2972786"/>
              <a:gd name="connsiteY4" fmla="*/ 2320860 h 2322479"/>
              <a:gd name="connsiteX5" fmla="*/ 0 w 2972786"/>
              <a:gd name="connsiteY5" fmla="*/ 399712 h 2322479"/>
              <a:gd name="connsiteX6" fmla="*/ 1459520 w 2972786"/>
              <a:gd name="connsiteY6" fmla="*/ 0 h 2322479"/>
              <a:gd name="connsiteX0" fmla="*/ 1538835 w 2972786"/>
              <a:gd name="connsiteY0" fmla="*/ 0 h 2605861"/>
              <a:gd name="connsiteX1" fmla="*/ 2972786 w 2972786"/>
              <a:gd name="connsiteY1" fmla="*/ 1972366 h 2605861"/>
              <a:gd name="connsiteX2" fmla="*/ 2436092 w 2972786"/>
              <a:gd name="connsiteY2" fmla="*/ 2605861 h 2605861"/>
              <a:gd name="connsiteX3" fmla="*/ 615414 w 2972786"/>
              <a:gd name="connsiteY3" fmla="*/ 2605861 h 2605861"/>
              <a:gd name="connsiteX4" fmla="*/ 614230 w 2972786"/>
              <a:gd name="connsiteY4" fmla="*/ 2604242 h 2605861"/>
              <a:gd name="connsiteX5" fmla="*/ 0 w 2972786"/>
              <a:gd name="connsiteY5" fmla="*/ 683094 h 2605861"/>
              <a:gd name="connsiteX6" fmla="*/ 1538835 w 2972786"/>
              <a:gd name="connsiteY6" fmla="*/ 0 h 260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86" h="2605861">
                <a:moveTo>
                  <a:pt x="1538835" y="0"/>
                </a:moveTo>
                <a:lnTo>
                  <a:pt x="2972786" y="1972366"/>
                </a:lnTo>
                <a:lnTo>
                  <a:pt x="2436092" y="2605861"/>
                </a:lnTo>
                <a:lnTo>
                  <a:pt x="615414" y="2605861"/>
                </a:lnTo>
                <a:lnTo>
                  <a:pt x="614230" y="2604242"/>
                </a:lnTo>
                <a:lnTo>
                  <a:pt x="0" y="683094"/>
                </a:lnTo>
                <a:lnTo>
                  <a:pt x="1538835" y="0"/>
                </a:lnTo>
                <a:close/>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ct 3" hidden="1">
            <a:extLst>
              <a:ext uri="{FF2B5EF4-FFF2-40B4-BE49-F238E27FC236}">
                <a16:creationId xmlns:a16="http://schemas.microsoft.com/office/drawing/2014/main" id="{C3E9A957-2E57-4138-9B91-DCD340160AB1}"/>
              </a:ext>
            </a:extLst>
          </p:cNvPr>
          <p:cNvGraphicFramePr>
            <a:graphicFrameLocks noChangeAspect="1"/>
          </p:cNvGraphicFramePr>
          <p:nvPr userDrawn="1">
            <p:custDataLst>
              <p:tags r:id="rId2"/>
            </p:custDataLst>
            <p:extLst>
              <p:ext uri="{D42A27DB-BD31-4B8C-83A1-F6EECF244321}">
                <p14:modId xmlns:p14="http://schemas.microsoft.com/office/powerpoint/2010/main" val="410107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C3E9A957-2E57-4138-9B91-DCD340160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drawing, meter&#10;&#10;Description automatically generated">
            <a:extLst>
              <a:ext uri="{FF2B5EF4-FFF2-40B4-BE49-F238E27FC236}">
                <a16:creationId xmlns:a16="http://schemas.microsoft.com/office/drawing/2014/main" id="{0343F38B-2340-4D82-99F3-C864A496091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31850" y="521745"/>
            <a:ext cx="1913114" cy="722107"/>
          </a:xfrm>
          <a:prstGeom prst="rect">
            <a:avLst/>
          </a:prstGeom>
        </p:spPr>
      </p:pic>
      <p:sp>
        <p:nvSpPr>
          <p:cNvPr id="11" name="Título 1">
            <a:extLst>
              <a:ext uri="{FF2B5EF4-FFF2-40B4-BE49-F238E27FC236}">
                <a16:creationId xmlns:a16="http://schemas.microsoft.com/office/drawing/2014/main" id="{8A06258C-0262-48CA-A70B-5A9CF3F511B5}"/>
              </a:ext>
            </a:extLst>
          </p:cNvPr>
          <p:cNvSpPr>
            <a:spLocks noGrp="1"/>
          </p:cNvSpPr>
          <p:nvPr>
            <p:ph type="title" hasCustomPrompt="1"/>
          </p:nvPr>
        </p:nvSpPr>
        <p:spPr>
          <a:xfrm>
            <a:off x="831850" y="3374685"/>
            <a:ext cx="4908550" cy="2353015"/>
          </a:xfrm>
        </p:spPr>
        <p:txBody>
          <a:bodyPr anchor="b"/>
          <a:lstStyle>
            <a:lvl1pPr>
              <a:defRPr sz="4800" b="1">
                <a:solidFill>
                  <a:schemeClr val="bg1"/>
                </a:solidFill>
              </a:defRPr>
            </a:lvl1pPr>
          </a:lstStyle>
          <a:p>
            <a:r>
              <a:rPr lang="en-GB" noProof="0" dirty="0"/>
              <a:t>Title</a:t>
            </a:r>
          </a:p>
        </p:txBody>
      </p:sp>
      <p:sp>
        <p:nvSpPr>
          <p:cNvPr id="13" name="Subtítulo 2">
            <a:extLst>
              <a:ext uri="{FF2B5EF4-FFF2-40B4-BE49-F238E27FC236}">
                <a16:creationId xmlns:a16="http://schemas.microsoft.com/office/drawing/2014/main" id="{F1E985A7-BAEA-44B1-BA5F-A4B880F23E9E}"/>
              </a:ext>
            </a:extLst>
          </p:cNvPr>
          <p:cNvSpPr>
            <a:spLocks noGrp="1"/>
          </p:cNvSpPr>
          <p:nvPr>
            <p:ph type="subTitle" idx="1" hasCustomPrompt="1"/>
          </p:nvPr>
        </p:nvSpPr>
        <p:spPr>
          <a:xfrm>
            <a:off x="831850" y="5890828"/>
            <a:ext cx="4908550" cy="336594"/>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Date</a:t>
            </a:r>
          </a:p>
        </p:txBody>
      </p:sp>
      <p:pic>
        <p:nvPicPr>
          <p:cNvPr id="10" name="Marcador de posición de imagen 5" descr="Una imagen de un campo&#10;&#10;Descripción generada automáticamente">
            <a:extLst>
              <a:ext uri="{FF2B5EF4-FFF2-40B4-BE49-F238E27FC236}">
                <a16:creationId xmlns:a16="http://schemas.microsoft.com/office/drawing/2014/main" id="{1DECE1F1-7030-4A8F-BBE4-50E6CBA625A0}"/>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7241810" y="2070846"/>
            <a:ext cx="3883390" cy="3842810"/>
          </a:xfrm>
          <a:prstGeom prst="round2SameRect">
            <a:avLst>
              <a:gd name="adj1" fmla="val 47898"/>
              <a:gd name="adj2" fmla="val 0"/>
            </a:avLst>
          </a:prstGeom>
        </p:spPr>
      </p:pic>
      <p:pic>
        <p:nvPicPr>
          <p:cNvPr id="14" name="Gráfico 13">
            <a:extLst>
              <a:ext uri="{FF2B5EF4-FFF2-40B4-BE49-F238E27FC236}">
                <a16:creationId xmlns:a16="http://schemas.microsoft.com/office/drawing/2014/main" id="{E77C4C6C-6BC2-4508-87FF-6648DF99C3F6}"/>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0574" t="31321" r="8809" b="11117"/>
          <a:stretch/>
        </p:blipFill>
        <p:spPr>
          <a:xfrm>
            <a:off x="6898850" y="1663337"/>
            <a:ext cx="4557600" cy="4564085"/>
          </a:xfrm>
          <a:prstGeom prst="rect">
            <a:avLst/>
          </a:prstGeom>
        </p:spPr>
      </p:pic>
    </p:spTree>
    <p:extLst>
      <p:ext uri="{BB962C8B-B14F-4D97-AF65-F5344CB8AC3E}">
        <p14:creationId xmlns:p14="http://schemas.microsoft.com/office/powerpoint/2010/main" val="1238912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4" name="Forma libre: forma 23">
            <a:extLst>
              <a:ext uri="{FF2B5EF4-FFF2-40B4-BE49-F238E27FC236}">
                <a16:creationId xmlns:a16="http://schemas.microsoft.com/office/drawing/2014/main" id="{74628594-A8DF-48D6-8900-F4E41596F342}"/>
              </a:ext>
            </a:extLst>
          </p:cNvPr>
          <p:cNvSpPr/>
          <p:nvPr userDrawn="1"/>
        </p:nvSpPr>
        <p:spPr>
          <a:xfrm>
            <a:off x="0" y="220143"/>
            <a:ext cx="3326816" cy="6698181"/>
          </a:xfrm>
          <a:custGeom>
            <a:avLst/>
            <a:gdLst>
              <a:gd name="connsiteX0" fmla="*/ 0 w 3173797"/>
              <a:gd name="connsiteY0" fmla="*/ 0 h 6390094"/>
              <a:gd name="connsiteX1" fmla="*/ 142909 w 3173797"/>
              <a:gd name="connsiteY1" fmla="*/ 3614 h 6390094"/>
              <a:gd name="connsiteX2" fmla="*/ 3173797 w 3173797"/>
              <a:gd name="connsiteY2" fmla="*/ 3194775 h 6390094"/>
              <a:gd name="connsiteX3" fmla="*/ 3173797 w 3173797"/>
              <a:gd name="connsiteY3" fmla="*/ 6390094 h 6390094"/>
              <a:gd name="connsiteX4" fmla="*/ 0 w 3173797"/>
              <a:gd name="connsiteY4" fmla="*/ 6390094 h 6390094"/>
              <a:gd name="connsiteX5" fmla="*/ 0 w 3173797"/>
              <a:gd name="connsiteY5" fmla="*/ 0 h 639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797" h="6390094">
                <a:moveTo>
                  <a:pt x="0" y="0"/>
                </a:moveTo>
                <a:lnTo>
                  <a:pt x="142909" y="3614"/>
                </a:lnTo>
                <a:cubicBezTo>
                  <a:pt x="1831219" y="89194"/>
                  <a:pt x="3173797" y="1485197"/>
                  <a:pt x="3173797" y="3194775"/>
                </a:cubicBezTo>
                <a:lnTo>
                  <a:pt x="3173797" y="6390094"/>
                </a:lnTo>
                <a:lnTo>
                  <a:pt x="0" y="63900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E29229FB-DB8C-4DC9-BDB0-F53BDDE78E97}"/>
              </a:ext>
            </a:extLst>
          </p:cNvPr>
          <p:cNvSpPr>
            <a:spLocks noGrp="1"/>
          </p:cNvSpPr>
          <p:nvPr>
            <p:ph type="title" hasCustomPrompt="1"/>
          </p:nvPr>
        </p:nvSpPr>
        <p:spPr>
          <a:xfrm>
            <a:off x="3426279" y="365125"/>
            <a:ext cx="9392558" cy="678815"/>
          </a:xfrm>
        </p:spPr>
        <p:txBody>
          <a:bodyPr/>
          <a:lstStyle>
            <a:lvl1pPr>
              <a:defRPr sz="3200" b="1"/>
            </a:lvl1pPr>
          </a:lstStyle>
          <a:p>
            <a:r>
              <a:rPr lang="en-GB" noProof="0" dirty="0"/>
              <a:t>Agenda</a:t>
            </a:r>
          </a:p>
        </p:txBody>
      </p:sp>
      <p:sp>
        <p:nvSpPr>
          <p:cNvPr id="40" name="Rectángulo 33">
            <a:extLst>
              <a:ext uri="{FF2B5EF4-FFF2-40B4-BE49-F238E27FC236}">
                <a16:creationId xmlns:a16="http://schemas.microsoft.com/office/drawing/2014/main" id="{057FD87F-67A0-4B2F-8EDC-A42668C1C596}"/>
              </a:ext>
            </a:extLst>
          </p:cNvPr>
          <p:cNvSpPr/>
          <p:nvPr userDrawn="1"/>
        </p:nvSpPr>
        <p:spPr>
          <a:xfrm rot="4163199">
            <a:off x="11562511" y="6405117"/>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40">
            <a:extLst>
              <a:ext uri="{FF2B5EF4-FFF2-40B4-BE49-F238E27FC236}">
                <a16:creationId xmlns:a16="http://schemas.microsoft.com/office/drawing/2014/main" id="{D62C4411-0C77-4D1D-A121-9DD06E49E3EB}"/>
              </a:ext>
            </a:extLst>
          </p:cNvPr>
          <p:cNvSpPr>
            <a:spLocks noGrp="1"/>
          </p:cNvSpPr>
          <p:nvPr>
            <p:ph type="sldNum" sz="quarter" idx="11"/>
          </p:nvPr>
        </p:nvSpPr>
        <p:spPr>
          <a:xfrm>
            <a:off x="11210924" y="6492985"/>
            <a:ext cx="739775" cy="365125"/>
          </a:xfrm>
        </p:spPr>
        <p:txBody>
          <a:bodyPr/>
          <a:lstStyle>
            <a:lvl1pPr>
              <a:defRPr>
                <a:solidFill>
                  <a:schemeClr val="bg1"/>
                </a:solidFill>
              </a:defRPr>
            </a:lvl1pPr>
          </a:lstStyle>
          <a:p>
            <a:fld id="{14476E36-D14F-478C-80AD-5F152C8A886F}" type="slidenum">
              <a:rPr lang="es-ES" smtClean="0"/>
              <a:pPr/>
              <a:t>‹#›</a:t>
            </a:fld>
            <a:endParaRPr lang="es-ES" dirty="0"/>
          </a:p>
        </p:txBody>
      </p:sp>
      <p:sp>
        <p:nvSpPr>
          <p:cNvPr id="34" name="Rectángulo 33">
            <a:extLst>
              <a:ext uri="{FF2B5EF4-FFF2-40B4-BE49-F238E27FC236}">
                <a16:creationId xmlns:a16="http://schemas.microsoft.com/office/drawing/2014/main" id="{F601F1E3-ADD7-4A59-BF65-36C586FF0329}"/>
              </a:ext>
            </a:extLst>
          </p:cNvPr>
          <p:cNvSpPr/>
          <p:nvPr userDrawn="1"/>
        </p:nvSpPr>
        <p:spPr>
          <a:xfrm>
            <a:off x="2633799" y="375920"/>
            <a:ext cx="639461" cy="734799"/>
          </a:xfrm>
          <a:custGeom>
            <a:avLst/>
            <a:gdLst>
              <a:gd name="connsiteX0" fmla="*/ 0 w 711200"/>
              <a:gd name="connsiteY0" fmla="*/ 0 h 1498600"/>
              <a:gd name="connsiteX1" fmla="*/ 711200 w 711200"/>
              <a:gd name="connsiteY1" fmla="*/ 0 h 1498600"/>
              <a:gd name="connsiteX2" fmla="*/ 711200 w 711200"/>
              <a:gd name="connsiteY2" fmla="*/ 1498600 h 1498600"/>
              <a:gd name="connsiteX3" fmla="*/ 0 w 711200"/>
              <a:gd name="connsiteY3" fmla="*/ 1498600 h 1498600"/>
              <a:gd name="connsiteX4" fmla="*/ 0 w 711200"/>
              <a:gd name="connsiteY4" fmla="*/ 0 h 1498600"/>
              <a:gd name="connsiteX0" fmla="*/ 0 w 1145540"/>
              <a:gd name="connsiteY0" fmla="*/ 0 h 1498600"/>
              <a:gd name="connsiteX1" fmla="*/ 711200 w 1145540"/>
              <a:gd name="connsiteY1" fmla="*/ 0 h 1498600"/>
              <a:gd name="connsiteX2" fmla="*/ 1145540 w 1145540"/>
              <a:gd name="connsiteY2" fmla="*/ 1140460 h 1498600"/>
              <a:gd name="connsiteX3" fmla="*/ 0 w 1145540"/>
              <a:gd name="connsiteY3" fmla="*/ 1498600 h 1498600"/>
              <a:gd name="connsiteX4" fmla="*/ 0 w 1145540"/>
              <a:gd name="connsiteY4" fmla="*/ 0 h 1498600"/>
              <a:gd name="connsiteX0" fmla="*/ 0 w 1397000"/>
              <a:gd name="connsiteY0" fmla="*/ 106680 h 1605280"/>
              <a:gd name="connsiteX1" fmla="*/ 1397000 w 1397000"/>
              <a:gd name="connsiteY1" fmla="*/ 0 h 1605280"/>
              <a:gd name="connsiteX2" fmla="*/ 1145540 w 1397000"/>
              <a:gd name="connsiteY2" fmla="*/ 1247140 h 1605280"/>
              <a:gd name="connsiteX3" fmla="*/ 0 w 1397000"/>
              <a:gd name="connsiteY3" fmla="*/ 1605280 h 1605280"/>
              <a:gd name="connsiteX4" fmla="*/ 0 w 1397000"/>
              <a:gd name="connsiteY4" fmla="*/ 10668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05280">
                <a:moveTo>
                  <a:pt x="0" y="106680"/>
                </a:moveTo>
                <a:lnTo>
                  <a:pt x="1397000" y="0"/>
                </a:lnTo>
                <a:lnTo>
                  <a:pt x="1145540" y="1247140"/>
                </a:lnTo>
                <a:lnTo>
                  <a:pt x="0" y="1605280"/>
                </a:lnTo>
                <a:lnTo>
                  <a:pt x="0" y="1066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053CFEB8-8917-4526-A3EF-BB006F3B37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4567" y="514751"/>
            <a:ext cx="379562" cy="379562"/>
          </a:xfrm>
          <a:prstGeom prst="rect">
            <a:avLst/>
          </a:prstGeom>
        </p:spPr>
      </p:pic>
      <p:sp>
        <p:nvSpPr>
          <p:cNvPr id="7" name="CuadroTexto 6">
            <a:extLst>
              <a:ext uri="{FF2B5EF4-FFF2-40B4-BE49-F238E27FC236}">
                <a16:creationId xmlns:a16="http://schemas.microsoft.com/office/drawing/2014/main" id="{F32368E5-BD5B-4DF6-81E6-CCE02FDE6773}"/>
              </a:ext>
            </a:extLst>
          </p:cNvPr>
          <p:cNvSpPr txBox="1"/>
          <p:nvPr userDrawn="1"/>
        </p:nvSpPr>
        <p:spPr>
          <a:xfrm>
            <a:off x="1676400" y="-2209800"/>
            <a:ext cx="209550" cy="45719"/>
          </a:xfrm>
          <a:prstGeom prst="rect">
            <a:avLst/>
          </a:prstGeom>
          <a:noFill/>
        </p:spPr>
        <p:txBody>
          <a:bodyPr wrap="square" rtlCol="0" anchor="t">
            <a:noAutofit/>
          </a:bodyPr>
          <a:lstStyle/>
          <a:p>
            <a:pPr algn="l"/>
            <a:endParaRPr lang="es-ES" sz="1600" dirty="0" err="1">
              <a:solidFill>
                <a:schemeClr val="tx1"/>
              </a:solidFill>
            </a:endParaRPr>
          </a:p>
        </p:txBody>
      </p:sp>
      <p:pic>
        <p:nvPicPr>
          <p:cNvPr id="10" name="Marcador de posición de imagen 18" descr="Una imagen de un campo&#10;&#10;Descripción generada automáticamente">
            <a:extLst>
              <a:ext uri="{FF2B5EF4-FFF2-40B4-BE49-F238E27FC236}">
                <a16:creationId xmlns:a16="http://schemas.microsoft.com/office/drawing/2014/main" id="{65A9A967-DCDC-4024-8052-CE13DD7E896B}"/>
              </a:ext>
            </a:extLst>
          </p:cNvPr>
          <p:cNvPicPr>
            <a:picLocks noChangeAspect="1"/>
          </p:cNvPicPr>
          <p:nvPr userDrawn="1"/>
        </p:nvPicPr>
        <p:blipFill rotWithShape="1">
          <a:blip r:embed="rId4">
            <a:alphaModFix amt="70000"/>
            <a:duotone>
              <a:prstClr val="black"/>
              <a:srgbClr val="D9C3A5">
                <a:tint val="50000"/>
                <a:satMod val="180000"/>
              </a:srgbClr>
            </a:duotone>
            <a:extLst>
              <a:ext uri="{28A0092B-C50C-407E-A947-70E740481C1C}">
                <a14:useLocalDpi xmlns:a14="http://schemas.microsoft.com/office/drawing/2010/main" val="0"/>
              </a:ext>
            </a:extLst>
          </a:blip>
          <a:srcRect l="49883" r="16529" b="1016"/>
          <a:stretch/>
        </p:blipFill>
        <p:spPr>
          <a:xfrm>
            <a:off x="-45100" y="386047"/>
            <a:ext cx="3217573" cy="6387469"/>
          </a:xfrm>
          <a:custGeom>
            <a:avLst/>
            <a:gdLst>
              <a:gd name="connsiteX0" fmla="*/ 0 w 2910140"/>
              <a:gd name="connsiteY0" fmla="*/ 0 h 5796000"/>
              <a:gd name="connsiteX1" fmla="*/ 12140 w 2910140"/>
              <a:gd name="connsiteY1" fmla="*/ 0 h 5796000"/>
              <a:gd name="connsiteX2" fmla="*/ 2910140 w 2910140"/>
              <a:gd name="connsiteY2" fmla="*/ 2898000 h 5796000"/>
              <a:gd name="connsiteX3" fmla="*/ 2910140 w 2910140"/>
              <a:gd name="connsiteY3" fmla="*/ 5796000 h 5796000"/>
              <a:gd name="connsiteX4" fmla="*/ 0 w 2910140"/>
              <a:gd name="connsiteY4" fmla="*/ 5796000 h 57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140" h="5796000">
                <a:moveTo>
                  <a:pt x="0" y="0"/>
                </a:moveTo>
                <a:lnTo>
                  <a:pt x="12140" y="0"/>
                </a:lnTo>
                <a:cubicBezTo>
                  <a:pt x="1612661" y="0"/>
                  <a:pt x="2910140" y="1297479"/>
                  <a:pt x="2910140" y="2898000"/>
                </a:cubicBezTo>
                <a:lnTo>
                  <a:pt x="2910140" y="5796000"/>
                </a:lnTo>
                <a:lnTo>
                  <a:pt x="0" y="5796000"/>
                </a:lnTo>
                <a:close/>
              </a:path>
            </a:pathLst>
          </a:custGeom>
          <a:solidFill>
            <a:schemeClr val="tx1"/>
          </a:solidFill>
          <a:ln>
            <a:solidFill>
              <a:schemeClr val="bg1"/>
            </a:solidFill>
          </a:ln>
        </p:spPr>
      </p:pic>
    </p:spTree>
    <p:extLst>
      <p:ext uri="{BB962C8B-B14F-4D97-AF65-F5344CB8AC3E}">
        <p14:creationId xmlns:p14="http://schemas.microsoft.com/office/powerpoint/2010/main" val="1639784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BD5837-EA7C-4302-A8DE-724FB062ACA2}"/>
              </a:ext>
            </a:extLst>
          </p:cNvPr>
          <p:cNvGraphicFramePr>
            <a:graphicFrameLocks noChangeAspect="1"/>
          </p:cNvGraphicFramePr>
          <p:nvPr userDrawn="1">
            <p:custDataLst>
              <p:tags r:id="rId20"/>
            </p:custDataLst>
            <p:extLst>
              <p:ext uri="{D42A27DB-BD31-4B8C-83A1-F6EECF244321}">
                <p14:modId xmlns:p14="http://schemas.microsoft.com/office/powerpoint/2010/main" val="272463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37C2B030-29BB-4A39-9121-3F522EE11D40}"/>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noProof="0" dirty="0"/>
              <a:t>Title</a:t>
            </a:r>
          </a:p>
        </p:txBody>
      </p:sp>
      <p:sp>
        <p:nvSpPr>
          <p:cNvPr id="3" name="Marcador de texto 2">
            <a:extLst>
              <a:ext uri="{FF2B5EF4-FFF2-40B4-BE49-F238E27FC236}">
                <a16:creationId xmlns:a16="http://schemas.microsoft.com/office/drawing/2014/main" id="{D9E037FE-D338-427C-A9C8-A8BC6B5ACA94}"/>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GB" noProof="0" dirty="0"/>
              <a:t>Text</a:t>
            </a:r>
          </a:p>
        </p:txBody>
      </p:sp>
      <p:sp>
        <p:nvSpPr>
          <p:cNvPr id="9" name="Marcador de número de diapositiva 8">
            <a:extLst>
              <a:ext uri="{FF2B5EF4-FFF2-40B4-BE49-F238E27FC236}">
                <a16:creationId xmlns:a16="http://schemas.microsoft.com/office/drawing/2014/main" id="{FA882E6F-514D-4672-9DFC-BCCFADCB3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311C2-50F0-4D06-A9E6-63C5FFE54CA8}" type="slidenum">
              <a:rPr lang="es-ES" smtClean="0"/>
              <a:t>‹#›</a:t>
            </a:fld>
            <a:endParaRPr lang="es-ES"/>
          </a:p>
        </p:txBody>
      </p:sp>
    </p:spTree>
    <p:extLst>
      <p:ext uri="{BB962C8B-B14F-4D97-AF65-F5344CB8AC3E}">
        <p14:creationId xmlns:p14="http://schemas.microsoft.com/office/powerpoint/2010/main" val="368671562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5" r:id="rId3"/>
    <p:sldLayoutId id="2147483671" r:id="rId4"/>
    <p:sldLayoutId id="2147483672" r:id="rId5"/>
    <p:sldLayoutId id="2147483651" r:id="rId6"/>
    <p:sldLayoutId id="2147483669" r:id="rId7"/>
    <p:sldLayoutId id="2147483670" r:id="rId8"/>
    <p:sldLayoutId id="2147483668" r:id="rId9"/>
    <p:sldLayoutId id="2147483650" r:id="rId10"/>
    <p:sldLayoutId id="2147483666" r:id="rId11"/>
    <p:sldLayoutId id="2147483660" r:id="rId12"/>
    <p:sldLayoutId id="2147483661" r:id="rId13"/>
    <p:sldLayoutId id="2147483663" r:id="rId14"/>
    <p:sldLayoutId id="2147483673" r:id="rId15"/>
    <p:sldLayoutId id="2147483674" r:id="rId16"/>
    <p:sldLayoutId id="2147483677" r:id="rId1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jpeg"/><Relationship Id="rId3" Type="http://schemas.openxmlformats.org/officeDocument/2006/relationships/tags" Target="../tags/tag10.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6.bin"/><Relationship Id="rId10" Type="http://schemas.openxmlformats.org/officeDocument/2006/relationships/image" Target="../media/image24.svg"/><Relationship Id="rId4" Type="http://schemas.openxmlformats.org/officeDocument/2006/relationships/slideLayout" Target="../slideLayouts/slideLayout17.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284D5D-E47E-4281-8D35-FEA04FCBEF92}"/>
              </a:ext>
            </a:extLst>
          </p:cNvPr>
          <p:cNvGraphicFramePr>
            <a:graphicFrameLocks noChangeAspect="1"/>
          </p:cNvGraphicFramePr>
          <p:nvPr>
            <p:custDataLst>
              <p:tags r:id="rId2"/>
            </p:custDataLst>
          </p:nvPr>
        </p:nvGraphicFramePr>
        <p:xfrm>
          <a:off x="1116" y="1221"/>
          <a:ext cx="1117" cy="1117"/>
        </p:xfrm>
        <a:graphic>
          <a:graphicData uri="http://schemas.openxmlformats.org/presentationml/2006/ole">
            <mc:AlternateContent xmlns:mc="http://schemas.openxmlformats.org/markup-compatibility/2006">
              <mc:Choice xmlns:v="urn:schemas-microsoft-com:vml" Requires="v">
                <p:oleObj spid="_x0000_s263208"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4284D5D-E47E-4281-8D35-FEA04FCBEF92}"/>
                          </a:ext>
                        </a:extLst>
                      </p:cNvPr>
                      <p:cNvPicPr/>
                      <p:nvPr/>
                    </p:nvPicPr>
                    <p:blipFill>
                      <a:blip r:embed="rId6"/>
                      <a:stretch>
                        <a:fillRect/>
                      </a:stretch>
                    </p:blipFill>
                    <p:spPr>
                      <a:xfrm>
                        <a:off x="1116" y="1221"/>
                        <a:ext cx="1117"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06CED-B863-4301-AD5D-74DE0C61020E}"/>
              </a:ext>
            </a:extLst>
          </p:cNvPr>
          <p:cNvSpPr>
            <a:spLocks noGrp="1"/>
          </p:cNvSpPr>
          <p:nvPr>
            <p:ph type="title"/>
          </p:nvPr>
        </p:nvSpPr>
        <p:spPr/>
        <p:txBody>
          <a:bodyPr vert="horz" wrap="square" lIns="0" tIns="0" rIns="0" bIns="0" rtlCol="0" anchor="t" anchorCtr="0">
            <a:spAutoFit/>
          </a:bodyPr>
          <a:lstStyle/>
          <a:p>
            <a:r>
              <a:rPr lang="en-US" dirty="0"/>
              <a:t>Andrews </a:t>
            </a:r>
            <a:r>
              <a:rPr lang="en-US" dirty="0" err="1"/>
              <a:t>Adugudaa</a:t>
            </a:r>
            <a:r>
              <a:rPr lang="en-US" dirty="0"/>
              <a:t> </a:t>
            </a:r>
            <a:r>
              <a:rPr lang="en-US" dirty="0" err="1"/>
              <a:t>Akolaa</a:t>
            </a:r>
            <a:r>
              <a:rPr lang="en-US" dirty="0"/>
              <a:t> (Dr.) – Key Expert</a:t>
            </a:r>
            <a:endParaRPr lang="en-GH" sz="4000" dirty="0"/>
          </a:p>
        </p:txBody>
      </p:sp>
      <p:sp>
        <p:nvSpPr>
          <p:cNvPr id="3" name="Slide Number Placeholder 2">
            <a:extLst>
              <a:ext uri="{FF2B5EF4-FFF2-40B4-BE49-F238E27FC236}">
                <a16:creationId xmlns:a16="http://schemas.microsoft.com/office/drawing/2014/main" id="{1F2DD977-1D0B-41E3-9FC4-6B75D4E1C241}"/>
              </a:ext>
            </a:extLst>
          </p:cNvPr>
          <p:cNvSpPr>
            <a:spLocks noGrp="1"/>
          </p:cNvSpPr>
          <p:nvPr>
            <p:ph type="sldNum" sz="quarter" idx="2"/>
          </p:nvPr>
        </p:nvSpPr>
        <p:spPr/>
        <p:txBody>
          <a:bodyPr/>
          <a:lstStyle/>
          <a:p>
            <a:fld id="{86CB4B4D-7CA3-9044-876B-883B54F8677D}" type="slidenum">
              <a:rPr lang="en-GH" smtClean="0"/>
              <a:t>1</a:t>
            </a:fld>
            <a:endParaRPr lang="en-GH"/>
          </a:p>
        </p:txBody>
      </p:sp>
      <p:sp>
        <p:nvSpPr>
          <p:cNvPr id="11" name="TextBox 10">
            <a:extLst>
              <a:ext uri="{FF2B5EF4-FFF2-40B4-BE49-F238E27FC236}">
                <a16:creationId xmlns:a16="http://schemas.microsoft.com/office/drawing/2014/main" id="{F3AB3386-D2B5-4488-B88B-651287F8F4C6}"/>
              </a:ext>
            </a:extLst>
          </p:cNvPr>
          <p:cNvSpPr txBox="1"/>
          <p:nvPr/>
        </p:nvSpPr>
        <p:spPr>
          <a:xfrm>
            <a:off x="742950" y="1398250"/>
            <a:ext cx="4143267" cy="5555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Vice President (Sales and Distribution) of Airtel Ghana Limited (Ghana).</a:t>
            </a:r>
            <a:r>
              <a:rPr lang="en-US" sz="1200" dirty="0"/>
              <a:t> Overall leadership of the sales and distribution team in Airtel Ghana: Responsible for sales and distribution strategy development, execution planning and management, budgeting and budget management.</a:t>
            </a:r>
          </a:p>
          <a:p>
            <a:pPr marL="366104" lvl="1" indent="-182880" defTabSz="642915">
              <a:spcAft>
                <a:spcPts val="300"/>
              </a:spcAft>
              <a:buClr>
                <a:schemeClr val="tx1"/>
              </a:buClr>
              <a:buFont typeface="Arial" panose="020B0604020202020204" pitchFamily="34" charset="0"/>
              <a:buChar char="‒"/>
              <a:defRPr/>
            </a:pPr>
            <a:r>
              <a:rPr lang="en-US" sz="1200" dirty="0"/>
              <a:t>Grew primary sales revenue by 45% in one and half years</a:t>
            </a:r>
          </a:p>
          <a:p>
            <a:pPr marL="366104" lvl="1" indent="-182880" defTabSz="642915">
              <a:spcAft>
                <a:spcPts val="300"/>
              </a:spcAft>
              <a:buClr>
                <a:schemeClr val="tx1"/>
              </a:buClr>
              <a:buFont typeface="Arial" panose="020B0604020202020204" pitchFamily="34" charset="0"/>
              <a:buChar char="‒"/>
              <a:defRPr/>
            </a:pPr>
            <a:r>
              <a:rPr lang="en-US" sz="1200" dirty="0"/>
              <a:t>Grew Airtel share of new customer acquisitions from 13% to 17% in one and half years year</a:t>
            </a:r>
          </a:p>
          <a:p>
            <a:pPr marL="366104" lvl="1" indent="-182880" defTabSz="642915">
              <a:spcAft>
                <a:spcPts val="300"/>
              </a:spcAft>
              <a:buClr>
                <a:schemeClr val="tx1"/>
              </a:buClr>
              <a:buFont typeface="Arial" panose="020B0604020202020204" pitchFamily="34" charset="0"/>
              <a:buChar char="‒"/>
              <a:defRPr/>
            </a:pPr>
            <a:r>
              <a:rPr lang="en-US" sz="1200" dirty="0"/>
              <a:t>Developed a highly motivated sales force with a ready to win mentality in Airtel Ghana</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Sales Director of Guinness Ghana Breweries Limited (Subsidiary of Diageo Plc) (Ghana). </a:t>
            </a:r>
            <a:r>
              <a:rPr lang="en-US" sz="1200" dirty="0"/>
              <a:t>Responsibility for sales leadership in the organization: Sales strategy planning and execution, management of the entire sales budget, sales operations management, providing leadership to the entire sales leadership and team.</a:t>
            </a:r>
          </a:p>
          <a:p>
            <a:pPr marL="366104" lvl="1" indent="-182880" defTabSz="642915">
              <a:spcAft>
                <a:spcPts val="300"/>
              </a:spcAft>
              <a:buClr>
                <a:schemeClr val="tx1"/>
              </a:buClr>
              <a:buFont typeface="Arial" panose="020B0604020202020204" pitchFamily="34" charset="0"/>
              <a:buChar char="‒"/>
              <a:defRPr/>
            </a:pPr>
            <a:r>
              <a:rPr lang="en-US" sz="1200" dirty="0"/>
              <a:t>Restructured a dissipated sales team</a:t>
            </a:r>
          </a:p>
          <a:p>
            <a:pPr marL="366104" lvl="1" indent="-182880" defTabSz="642915">
              <a:spcAft>
                <a:spcPts val="300"/>
              </a:spcAft>
              <a:buClr>
                <a:schemeClr val="tx1"/>
              </a:buClr>
              <a:buFont typeface="Arial" panose="020B0604020202020204" pitchFamily="34" charset="0"/>
              <a:buChar char="‒"/>
              <a:defRPr/>
            </a:pPr>
            <a:r>
              <a:rPr lang="en-US" sz="1200" dirty="0"/>
              <a:t>Set up the route to market project to revamp the distribution structure of Guinness Ghana gained 2% market share</a:t>
            </a:r>
          </a:p>
          <a:p>
            <a:pPr marL="182880" indent="-182880" defTabSz="642915">
              <a:spcAft>
                <a:spcPts val="300"/>
              </a:spcAft>
              <a:buClr>
                <a:schemeClr val="tx1"/>
              </a:buClr>
              <a:buFont typeface="Wingdings" panose="05000000000000000000" pitchFamily="2" charset="2"/>
              <a:buChar char="§"/>
              <a:defRPr/>
            </a:pPr>
            <a:r>
              <a:rPr lang="en-US" sz="1200" dirty="0">
                <a:solidFill>
                  <a:schemeClr val="accent1"/>
                </a:solidFill>
              </a:rPr>
              <a:t>General Manager (International Business) of </a:t>
            </a:r>
            <a:r>
              <a:rPr lang="en-US" sz="1200" dirty="0" err="1">
                <a:solidFill>
                  <a:schemeClr val="accent1"/>
                </a:solidFill>
              </a:rPr>
              <a:t>Kasapreko</a:t>
            </a:r>
            <a:r>
              <a:rPr lang="en-US" sz="1200" dirty="0">
                <a:solidFill>
                  <a:schemeClr val="accent1"/>
                </a:solidFill>
              </a:rPr>
              <a:t> Company Limited (Ghana),</a:t>
            </a:r>
            <a:r>
              <a:rPr lang="en-US" sz="1200" dirty="0">
                <a:solidFill>
                  <a:srgbClr val="FF0000"/>
                </a:solidFill>
              </a:rPr>
              <a:t> with additional responsibility as General Manager, (Nigeria)</a:t>
            </a:r>
            <a:endParaRPr lang="en-US" sz="1200" dirty="0"/>
          </a:p>
          <a:p>
            <a:pPr marL="366104" lvl="1" indent="-182880" defTabSz="642915">
              <a:spcAft>
                <a:spcPts val="300"/>
              </a:spcAft>
              <a:buClr>
                <a:schemeClr val="tx1"/>
              </a:buClr>
              <a:buFont typeface="Arial" panose="020B0604020202020204" pitchFamily="34" charset="0"/>
              <a:buChar char="‒"/>
              <a:defRPr/>
            </a:pPr>
            <a:r>
              <a:rPr lang="en-US" sz="1200" dirty="0"/>
              <a:t>Led the planning of the international marketing strategy for the company and the internationalization of key brands within our portfolio across the globe</a:t>
            </a:r>
          </a:p>
          <a:p>
            <a:pPr marL="366104" lvl="1" indent="-182880" defTabSz="642915">
              <a:spcAft>
                <a:spcPts val="300"/>
              </a:spcAft>
              <a:buClr>
                <a:schemeClr val="tx1"/>
              </a:buClr>
              <a:buFont typeface="Arial" panose="020B0604020202020204" pitchFamily="34" charset="0"/>
              <a:buChar char="‒"/>
              <a:defRPr/>
            </a:pPr>
            <a:r>
              <a:rPr lang="en-US" sz="1200" dirty="0"/>
              <a:t>Got brands into Nigeria, Togo-Benin, Burkina Faso, Liberia, Belgium</a:t>
            </a:r>
          </a:p>
        </p:txBody>
      </p:sp>
      <p:sp>
        <p:nvSpPr>
          <p:cNvPr id="12" name="TextBox 11">
            <a:extLst>
              <a:ext uri="{FF2B5EF4-FFF2-40B4-BE49-F238E27FC236}">
                <a16:creationId xmlns:a16="http://schemas.microsoft.com/office/drawing/2014/main" id="{FF5B3E89-D876-4AA6-ADED-DB1F189B341E}"/>
              </a:ext>
            </a:extLst>
          </p:cNvPr>
          <p:cNvSpPr txBox="1"/>
          <p:nvPr/>
        </p:nvSpPr>
        <p:spPr>
          <a:xfrm>
            <a:off x="7945692" y="1398250"/>
            <a:ext cx="3590369" cy="1777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Dr. </a:t>
            </a:r>
            <a:r>
              <a:rPr lang="en-US" sz="1200" dirty="0" err="1">
                <a:solidFill>
                  <a:prstClr val="black"/>
                </a:solidFill>
              </a:rPr>
              <a:t>Akolaa</a:t>
            </a:r>
            <a:r>
              <a:rPr lang="en-US" sz="1200" dirty="0">
                <a:solidFill>
                  <a:prstClr val="black"/>
                </a:solidFill>
              </a:rPr>
              <a:t> holds a </a:t>
            </a:r>
            <a:r>
              <a:rPr lang="en-US" sz="1200" dirty="0">
                <a:solidFill>
                  <a:srgbClr val="FF0000"/>
                </a:solidFill>
              </a:rPr>
              <a:t>doctorate in Business Administration </a:t>
            </a:r>
            <a:r>
              <a:rPr lang="en-US" sz="1200" dirty="0">
                <a:solidFill>
                  <a:prstClr val="black"/>
                </a:solidFill>
              </a:rPr>
              <a:t>from </a:t>
            </a:r>
            <a:r>
              <a:rPr lang="en-US" sz="1200" dirty="0">
                <a:solidFill>
                  <a:srgbClr val="FF0000"/>
                </a:solidFill>
              </a:rPr>
              <a:t>SMC University </a:t>
            </a:r>
            <a:r>
              <a:rPr lang="en-US" sz="1200" dirty="0">
                <a:solidFill>
                  <a:prstClr val="black"/>
                </a:solidFill>
              </a:rPr>
              <a:t>(Switzerland)</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He also holds an </a:t>
            </a:r>
            <a:r>
              <a:rPr lang="en-US" sz="1200" dirty="0">
                <a:solidFill>
                  <a:srgbClr val="FF0000"/>
                </a:solidFill>
              </a:rPr>
              <a:t>EMBA in Marketing </a:t>
            </a:r>
            <a:r>
              <a:rPr lang="en-US" sz="1200" dirty="0">
                <a:solidFill>
                  <a:prstClr val="black"/>
                </a:solidFill>
              </a:rPr>
              <a:t>from the </a:t>
            </a:r>
            <a:r>
              <a:rPr lang="en-US" sz="1200" dirty="0">
                <a:solidFill>
                  <a:srgbClr val="FF0000"/>
                </a:solidFill>
              </a:rPr>
              <a:t>University of Ghana, Legon </a:t>
            </a:r>
            <a:r>
              <a:rPr lang="en-US" sz="1200" dirty="0">
                <a:solidFill>
                  <a:prstClr val="black"/>
                </a:solidFill>
              </a:rPr>
              <a:t>(Ghana)</a:t>
            </a:r>
          </a:p>
          <a:p>
            <a:pPr marL="182880" indent="-182880" defTabSz="642915">
              <a:spcAft>
                <a:spcPts val="300"/>
              </a:spcAft>
              <a:buClr>
                <a:schemeClr val="tx1"/>
              </a:buClr>
              <a:buFont typeface="Wingdings" panose="05000000000000000000" pitchFamily="2" charset="2"/>
              <a:buChar char="§"/>
              <a:defRPr/>
            </a:pPr>
            <a:r>
              <a:rPr lang="en-US" sz="1200" dirty="0">
                <a:solidFill>
                  <a:prstClr val="black"/>
                </a:solidFill>
              </a:rPr>
              <a:t>He holds a </a:t>
            </a:r>
            <a:r>
              <a:rPr lang="en-US" sz="1200" dirty="0">
                <a:solidFill>
                  <a:srgbClr val="FF0000"/>
                </a:solidFill>
              </a:rPr>
              <a:t>Postgraduate diploma in Marketing </a:t>
            </a:r>
            <a:r>
              <a:rPr lang="en-US" sz="1200" dirty="0">
                <a:solidFill>
                  <a:prstClr val="black"/>
                </a:solidFill>
              </a:rPr>
              <a:t>and a </a:t>
            </a:r>
            <a:r>
              <a:rPr lang="en-US" sz="1200" dirty="0">
                <a:solidFill>
                  <a:srgbClr val="FF0000"/>
                </a:solidFill>
              </a:rPr>
              <a:t>Certificate in Marketing</a:t>
            </a:r>
            <a:r>
              <a:rPr lang="en-US" sz="1200" dirty="0">
                <a:solidFill>
                  <a:prstClr val="black"/>
                </a:solidFill>
              </a:rPr>
              <a:t> from the </a:t>
            </a:r>
            <a:r>
              <a:rPr lang="en-US" sz="1200" dirty="0">
                <a:solidFill>
                  <a:srgbClr val="FF0000"/>
                </a:solidFill>
              </a:rPr>
              <a:t>Chartered Int. of Marketing</a:t>
            </a:r>
            <a:r>
              <a:rPr lang="en-US" sz="1200" dirty="0">
                <a:solidFill>
                  <a:prstClr val="black"/>
                </a:solidFill>
              </a:rPr>
              <a:t>, (U.K) and an </a:t>
            </a:r>
            <a:r>
              <a:rPr lang="en-US" sz="1200" dirty="0">
                <a:solidFill>
                  <a:srgbClr val="FF0000"/>
                </a:solidFill>
              </a:rPr>
              <a:t>Advanced Certificate in Public Relations</a:t>
            </a:r>
            <a:r>
              <a:rPr lang="en-US" sz="1200" dirty="0">
                <a:solidFill>
                  <a:prstClr val="black"/>
                </a:solidFill>
              </a:rPr>
              <a:t> from the </a:t>
            </a:r>
            <a:r>
              <a:rPr lang="en-US" sz="1200" dirty="0">
                <a:solidFill>
                  <a:srgbClr val="FF0000"/>
                </a:solidFill>
              </a:rPr>
              <a:t>Ghana Institute of Journalism </a:t>
            </a:r>
            <a:r>
              <a:rPr lang="en-US" sz="1200" dirty="0">
                <a:solidFill>
                  <a:prstClr val="black"/>
                </a:solidFill>
              </a:rPr>
              <a:t>(Ghana)</a:t>
            </a:r>
          </a:p>
        </p:txBody>
      </p:sp>
      <p:sp>
        <p:nvSpPr>
          <p:cNvPr id="45" name="TextBox 44">
            <a:extLst>
              <a:ext uri="{FF2B5EF4-FFF2-40B4-BE49-F238E27FC236}">
                <a16:creationId xmlns:a16="http://schemas.microsoft.com/office/drawing/2014/main" id="{9F92F476-1647-904E-90CD-5659456D684C}"/>
              </a:ext>
            </a:extLst>
          </p:cNvPr>
          <p:cNvSpPr txBox="1"/>
          <p:nvPr/>
        </p:nvSpPr>
        <p:spPr>
          <a:xfrm>
            <a:off x="5141843" y="4016574"/>
            <a:ext cx="2536837" cy="27007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algn="l" defTabSz="914400" hangingPunct="1">
              <a:lnSpc>
                <a:spcPct val="95000"/>
              </a:lnSpc>
              <a:defRPr sz="1700" kern="1200">
                <a:solidFill>
                  <a:prstClr val="white"/>
                </a:solidFill>
                <a:latin typeface="+mn-lt"/>
                <a:ea typeface="+mn-ea"/>
                <a:cs typeface="+mn-cs"/>
              </a:defRPr>
            </a:lvl1pPr>
          </a:lstStyle>
          <a:p>
            <a:pPr algn="ctr">
              <a:lnSpc>
                <a:spcPct val="100000"/>
              </a:lnSpc>
              <a:spcAft>
                <a:spcPts val="300"/>
              </a:spcAft>
            </a:pPr>
            <a:r>
              <a:rPr lang="en-US" sz="1200" b="1" dirty="0"/>
              <a:t>Introduction</a:t>
            </a:r>
            <a:endParaRPr lang="en-US" sz="1200" dirty="0"/>
          </a:p>
          <a:p>
            <a:pPr algn="ctr">
              <a:lnSpc>
                <a:spcPct val="100000"/>
              </a:lnSpc>
              <a:spcAft>
                <a:spcPts val="300"/>
              </a:spcAft>
            </a:pPr>
            <a:r>
              <a:rPr lang="en-US" sz="1200" dirty="0"/>
              <a:t>Dr. </a:t>
            </a:r>
            <a:r>
              <a:rPr lang="en-US" sz="1200" dirty="0" err="1"/>
              <a:t>Akolaa’s</a:t>
            </a:r>
            <a:r>
              <a:rPr lang="en-US" sz="1200" dirty="0"/>
              <a:t> experience in the corporate environment spans over 20 years of practice in Sales and Marketing with over 15 year at the senior management level in the private sector in Ghana. </a:t>
            </a:r>
          </a:p>
          <a:p>
            <a:pPr algn="ctr">
              <a:lnSpc>
                <a:spcPct val="100000"/>
              </a:lnSpc>
              <a:spcAft>
                <a:spcPts val="300"/>
              </a:spcAft>
            </a:pPr>
            <a:r>
              <a:rPr lang="en-US" sz="1200" dirty="0"/>
              <a:t>He has been involved in business strategy development and planning, particularly the use of key strategic models in marketing and sales management, brand management, business development, corporate communications, public relations, and relationship management.</a:t>
            </a:r>
          </a:p>
        </p:txBody>
      </p:sp>
      <p:sp>
        <p:nvSpPr>
          <p:cNvPr id="6" name="Rectangle 5" hidden="1">
            <a:extLst>
              <a:ext uri="{FF2B5EF4-FFF2-40B4-BE49-F238E27FC236}">
                <a16:creationId xmlns:a16="http://schemas.microsoft.com/office/drawing/2014/main" id="{521E7EA8-92D9-40DD-AAD5-E4928BC8487C}"/>
              </a:ext>
            </a:extLst>
          </p:cNvPr>
          <p:cNvSpPr/>
          <p:nvPr>
            <p:custDataLst>
              <p:tags r:id="rId3"/>
            </p:custDataLst>
          </p:nvPr>
        </p:nvSpPr>
        <p:spPr>
          <a:xfrm>
            <a:off x="0" y="104"/>
            <a:ext cx="111618" cy="11161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lang="en-US" sz="4000" b="1" dirty="0">
              <a:solidFill>
                <a:srgbClr val="FFFFFF"/>
              </a:solidFill>
              <a:latin typeface="Calibri" panose="020F0502020204030204" pitchFamily="34" charset="0"/>
              <a:ea typeface="+mj-ea"/>
              <a:cs typeface="+mj-cs"/>
              <a:sym typeface="Calibri" panose="020F0502020204030204" pitchFamily="34" charset="0"/>
            </a:endParaRPr>
          </a:p>
        </p:txBody>
      </p:sp>
      <p:sp>
        <p:nvSpPr>
          <p:cNvPr id="35" name="Rectangle: Single Corner Rounded 34">
            <a:extLst>
              <a:ext uri="{FF2B5EF4-FFF2-40B4-BE49-F238E27FC236}">
                <a16:creationId xmlns:a16="http://schemas.microsoft.com/office/drawing/2014/main" id="{9BBCDC8E-89F5-437E-939B-366E3BD58DD7}"/>
              </a:ext>
            </a:extLst>
          </p:cNvPr>
          <p:cNvSpPr/>
          <p:nvPr/>
        </p:nvSpPr>
        <p:spPr>
          <a:xfrm>
            <a:off x="652964" y="935277"/>
            <a:ext cx="4327530"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Professional experience</a:t>
            </a:r>
          </a:p>
        </p:txBody>
      </p:sp>
      <p:pic>
        <p:nvPicPr>
          <p:cNvPr id="44" name="Graphic 43">
            <a:extLst>
              <a:ext uri="{FF2B5EF4-FFF2-40B4-BE49-F238E27FC236}">
                <a16:creationId xmlns:a16="http://schemas.microsoft.com/office/drawing/2014/main" id="{3261E2E6-1597-46A9-A538-79DD99E271D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02158" y="967232"/>
            <a:ext cx="340892" cy="343274"/>
          </a:xfrm>
          <a:prstGeom prst="rect">
            <a:avLst/>
          </a:prstGeom>
        </p:spPr>
      </p:pic>
      <p:sp>
        <p:nvSpPr>
          <p:cNvPr id="52" name="Rectangle: Single Corner Rounded 51">
            <a:extLst>
              <a:ext uri="{FF2B5EF4-FFF2-40B4-BE49-F238E27FC236}">
                <a16:creationId xmlns:a16="http://schemas.microsoft.com/office/drawing/2014/main" id="{3D26417D-CF4D-44E5-947A-5A2A835ABB04}"/>
              </a:ext>
            </a:extLst>
          </p:cNvPr>
          <p:cNvSpPr/>
          <p:nvPr/>
        </p:nvSpPr>
        <p:spPr>
          <a:xfrm>
            <a:off x="7840027" y="935277"/>
            <a:ext cx="3801698" cy="407185"/>
          </a:xfrm>
          <a:prstGeom prst="round1Rect">
            <a:avLst>
              <a:gd name="adj" fmla="val 5000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4292" tIns="35718" rIns="64292" bIns="35718" numCol="1" spcCol="38100" rtlCol="0" anchor="ctr">
            <a:noAutofit/>
          </a:bodyPr>
          <a:lstStyle/>
          <a:p>
            <a:pPr algn="l"/>
            <a:r>
              <a:rPr lang="en-US" sz="1200" dirty="0">
                <a:solidFill>
                  <a:srgbClr val="FFFFFF"/>
                </a:solidFill>
                <a:sym typeface="Helvetica Neue Medium"/>
              </a:rPr>
              <a:t>Education and skills</a:t>
            </a:r>
          </a:p>
        </p:txBody>
      </p:sp>
      <p:pic>
        <p:nvPicPr>
          <p:cNvPr id="53" name="Graphic 52">
            <a:extLst>
              <a:ext uri="{FF2B5EF4-FFF2-40B4-BE49-F238E27FC236}">
                <a16:creationId xmlns:a16="http://schemas.microsoft.com/office/drawing/2014/main" id="{EF09B9B5-9CAA-4526-A15C-E544BDDE034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63389" y="967232"/>
            <a:ext cx="340892" cy="343274"/>
          </a:xfrm>
          <a:prstGeom prst="rect">
            <a:avLst/>
          </a:prstGeom>
        </p:spPr>
      </p:pic>
      <p:pic>
        <p:nvPicPr>
          <p:cNvPr id="54" name="Graphic 53">
            <a:extLst>
              <a:ext uri="{FF2B5EF4-FFF2-40B4-BE49-F238E27FC236}">
                <a16:creationId xmlns:a16="http://schemas.microsoft.com/office/drawing/2014/main" id="{A9506CDE-BB22-48D6-9FA2-9578DE307E8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35582" y="1040617"/>
            <a:ext cx="196505" cy="196505"/>
          </a:xfrm>
          <a:prstGeom prst="rect">
            <a:avLst/>
          </a:prstGeom>
        </p:spPr>
      </p:pic>
      <p:pic>
        <p:nvPicPr>
          <p:cNvPr id="55" name="Graphic 54">
            <a:extLst>
              <a:ext uri="{FF2B5EF4-FFF2-40B4-BE49-F238E27FC236}">
                <a16:creationId xmlns:a16="http://schemas.microsoft.com/office/drawing/2014/main" id="{BA7CAA17-C9FE-4198-BDE9-2B36416BEF38}"/>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61178" y="1030791"/>
            <a:ext cx="216156" cy="216156"/>
          </a:xfrm>
          <a:prstGeom prst="rect">
            <a:avLst/>
          </a:prstGeom>
        </p:spPr>
      </p:pic>
      <p:pic>
        <p:nvPicPr>
          <p:cNvPr id="20" name="Picture Placeholder 19">
            <a:extLst>
              <a:ext uri="{FF2B5EF4-FFF2-40B4-BE49-F238E27FC236}">
                <a16:creationId xmlns:a16="http://schemas.microsoft.com/office/drawing/2014/main" id="{A9E013A9-5A59-F749-B64B-8230B436D4EC}"/>
              </a:ext>
            </a:extLst>
          </p:cNvPr>
          <p:cNvPicPr>
            <a:picLocks noGrp="1" noChangeAspect="1"/>
          </p:cNvPicPr>
          <p:nvPr>
            <p:ph type="pic" sz="quarter" idx="10"/>
          </p:nvPr>
        </p:nvPicPr>
        <p:blipFill>
          <a:blip r:embed="rId1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12541371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7xua3I8JxRtuI.i.Up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JuDmXJhct5jz9sAf1mH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6OR6L7Pq1Tw8CrmarV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201F27"/>
      </a:dk1>
      <a:lt1>
        <a:srgbClr val="FFFFFF"/>
      </a:lt1>
      <a:dk2>
        <a:srgbClr val="DB222A"/>
      </a:dk2>
      <a:lt2>
        <a:srgbClr val="D2D2D4"/>
      </a:lt2>
      <a:accent1>
        <a:srgbClr val="DB222A"/>
      </a:accent1>
      <a:accent2>
        <a:srgbClr val="C3B0D6"/>
      </a:accent2>
      <a:accent3>
        <a:srgbClr val="026453"/>
      </a:accent3>
      <a:accent4>
        <a:srgbClr val="A2D9D0"/>
      </a:accent4>
      <a:accent5>
        <a:srgbClr val="FFC70A"/>
      </a:accent5>
      <a:accent6>
        <a:srgbClr val="F3818B"/>
      </a:accent6>
      <a:hlink>
        <a:srgbClr val="DB222A"/>
      </a:hlink>
      <a:folHlink>
        <a:srgbClr val="DB222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noAutofit/>
      </a:bodyPr>
      <a:lstStyle>
        <a:defPPr algn="l">
          <a:defRPr sz="1600"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607</TotalTime>
  <Words>388</Words>
  <Application>Microsoft Macintosh PowerPoint</Application>
  <PresentationFormat>Widescreen</PresentationFormat>
  <Paragraphs>20</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Helvetica Neue Light</vt:lpstr>
      <vt:lpstr>PF Square Sans Pro</vt:lpstr>
      <vt:lpstr>SF Pro Display Semibold</vt:lpstr>
      <vt:lpstr>Wingdings</vt:lpstr>
      <vt:lpstr>Wingdings 3</vt:lpstr>
      <vt:lpstr>Tema de Office</vt:lpstr>
      <vt:lpstr>think-cell Slide</vt:lpstr>
      <vt:lpstr>Andrews Adugudaa Akolaa (Dr.) – Key Exp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adalupe Guisado</dc:creator>
  <cp:lastModifiedBy>Brian Antonio</cp:lastModifiedBy>
  <cp:revision>575</cp:revision>
  <dcterms:created xsi:type="dcterms:W3CDTF">2020-03-25T12:28:14Z</dcterms:created>
  <dcterms:modified xsi:type="dcterms:W3CDTF">2020-10-05T11:18:06Z</dcterms:modified>
</cp:coreProperties>
</file>